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4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5.xml" ContentType="application/vnd.openxmlformats-officedocument.presentationml.notesSlid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notesSlides/notesSlide6.xml" ContentType="application/vnd.openxmlformats-officedocument.presentationml.notesSlid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79" r:id="rId1"/>
    <p:sldMasterId id="2147483705" r:id="rId2"/>
    <p:sldMasterId id="2147483740" r:id="rId3"/>
    <p:sldMasterId id="2147483776" r:id="rId4"/>
    <p:sldMasterId id="2147483894" r:id="rId5"/>
    <p:sldMasterId id="2147483913" r:id="rId6"/>
  </p:sldMasterIdLst>
  <p:notesMasterIdLst>
    <p:notesMasterId r:id="rId41"/>
  </p:notesMasterIdLst>
  <p:sldIdLst>
    <p:sldId id="1751" r:id="rId7"/>
    <p:sldId id="2327" r:id="rId8"/>
    <p:sldId id="2336" r:id="rId9"/>
    <p:sldId id="2337" r:id="rId10"/>
    <p:sldId id="2338" r:id="rId11"/>
    <p:sldId id="2321" r:id="rId12"/>
    <p:sldId id="2329" r:id="rId13"/>
    <p:sldId id="2189" r:id="rId14"/>
    <p:sldId id="2172" r:id="rId15"/>
    <p:sldId id="2191" r:id="rId16"/>
    <p:sldId id="1820" r:id="rId17"/>
    <p:sldId id="2269" r:id="rId18"/>
    <p:sldId id="2339" r:id="rId19"/>
    <p:sldId id="2340" r:id="rId20"/>
    <p:sldId id="1822" r:id="rId21"/>
    <p:sldId id="2341" r:id="rId22"/>
    <p:sldId id="2293" r:id="rId23"/>
    <p:sldId id="2294" r:id="rId24"/>
    <p:sldId id="2295" r:id="rId25"/>
    <p:sldId id="2296" r:id="rId26"/>
    <p:sldId id="2203" r:id="rId27"/>
    <p:sldId id="2204" r:id="rId28"/>
    <p:sldId id="2342" r:id="rId29"/>
    <p:sldId id="2219" r:id="rId30"/>
    <p:sldId id="1835" r:id="rId31"/>
    <p:sldId id="2299" r:id="rId32"/>
    <p:sldId id="2300" r:id="rId33"/>
    <p:sldId id="1410" r:id="rId34"/>
    <p:sldId id="1411" r:id="rId35"/>
    <p:sldId id="2335" r:id="rId36"/>
    <p:sldId id="2103" r:id="rId37"/>
    <p:sldId id="2132" r:id="rId38"/>
    <p:sldId id="2133" r:id="rId39"/>
    <p:sldId id="2135" r:id="rId40"/>
  </p:sldIdLst>
  <p:sldSz cx="12192000" cy="6858000"/>
  <p:notesSz cx="6858000" cy="9144000"/>
  <p:embeddedFontLst>
    <p:embeddedFont>
      <p:font typeface="Calibri" panose="020F0502020204030204" pitchFamily="34" charset="0"/>
      <p:regular r:id="rId42"/>
      <p:bold r:id="rId43"/>
      <p:italic r:id="rId44"/>
      <p:boldItalic r:id="rId45"/>
    </p:embeddedFont>
    <p:embeddedFont>
      <p:font typeface="Calibri Light" panose="020F0302020204030204" pitchFamily="34" charset="0"/>
      <p:regular r:id="rId46"/>
      <p:italic r:id="rId47"/>
    </p:embeddedFont>
  </p:embeddedFontLst>
  <p:custDataLst>
    <p:tags r:id="rId4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ohlová Radka Mgr." initials="PRM" lastIdx="1" clrIdx="0">
    <p:extLst>
      <p:ext uri="{19B8F6BF-5375-455C-9EA6-DF929625EA0E}">
        <p15:presenceInfo xmlns:p15="http://schemas.microsoft.com/office/powerpoint/2012/main" userId="S::pohlovar@mzcr.cz::15a606af-c9df-42db-9d4e-541ca055171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05983"/>
    <a:srgbClr val="003399"/>
    <a:srgbClr val="706F6F"/>
    <a:srgbClr val="C00000"/>
    <a:srgbClr val="D31145"/>
    <a:srgbClr val="00FF00"/>
    <a:srgbClr val="CFDEED"/>
    <a:srgbClr val="FBCBD8"/>
    <a:srgbClr val="0000FF"/>
    <a:srgbClr val="A19F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345" autoAdjust="0"/>
    <p:restoredTop sz="95770" autoAdjust="0"/>
  </p:normalViewPr>
  <p:slideViewPr>
    <p:cSldViewPr snapToGrid="0">
      <p:cViewPr varScale="1">
        <p:scale>
          <a:sx n="105" d="100"/>
          <a:sy n="105" d="100"/>
        </p:scale>
        <p:origin x="1020" y="114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font" Target="fonts/font1.fntdata"/><Relationship Id="rId47" Type="http://schemas.openxmlformats.org/officeDocument/2006/relationships/font" Target="fonts/font6.fntdata"/><Relationship Id="rId50" Type="http://schemas.openxmlformats.org/officeDocument/2006/relationships/presProps" Target="presProp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font" Target="fonts/font4.fntdata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font" Target="fonts/font3.fntdata"/><Relationship Id="rId52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font" Target="fonts/font2.fntdata"/><Relationship Id="rId48" Type="http://schemas.openxmlformats.org/officeDocument/2006/relationships/tags" Target="tags/tag1.xml"/><Relationship Id="rId8" Type="http://schemas.openxmlformats.org/officeDocument/2006/relationships/slide" Target="slides/slide2.xml"/><Relationship Id="rId51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font" Target="fonts/font5.fntdata"/><Relationship Id="rId20" Type="http://schemas.openxmlformats.org/officeDocument/2006/relationships/slide" Target="slides/slide14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64</c:f>
              <c:numCache>
                <c:formatCode>m/d/yyyy</c:formatCode>
                <c:ptCount val="163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</c:numCache>
            </c:numRef>
          </c:cat>
          <c:val>
            <c:numRef>
              <c:f>Sheet1!$B$2:$B$164</c:f>
              <c:numCache>
                <c:formatCode>General</c:formatCode>
                <c:ptCount val="163"/>
                <c:pt idx="0">
                  <c:v>7231</c:v>
                </c:pt>
                <c:pt idx="1">
                  <c:v>9155</c:v>
                </c:pt>
                <c:pt idx="2">
                  <c:v>9668</c:v>
                </c:pt>
                <c:pt idx="3">
                  <c:v>8110</c:v>
                </c:pt>
                <c:pt idx="4">
                  <c:v>8628</c:v>
                </c:pt>
                <c:pt idx="5">
                  <c:v>4822</c:v>
                </c:pt>
                <c:pt idx="6">
                  <c:v>2452</c:v>
                </c:pt>
                <c:pt idx="7">
                  <c:v>7780</c:v>
                </c:pt>
                <c:pt idx="8">
                  <c:v>10285</c:v>
                </c:pt>
                <c:pt idx="9">
                  <c:v>9546</c:v>
                </c:pt>
                <c:pt idx="10">
                  <c:v>9021</c:v>
                </c:pt>
                <c:pt idx="11">
                  <c:v>8832</c:v>
                </c:pt>
                <c:pt idx="12">
                  <c:v>5143</c:v>
                </c:pt>
                <c:pt idx="13">
                  <c:v>2881</c:v>
                </c:pt>
                <c:pt idx="14">
                  <c:v>8907</c:v>
                </c:pt>
                <c:pt idx="15">
                  <c:v>12611</c:v>
                </c:pt>
                <c:pt idx="16">
                  <c:v>10944</c:v>
                </c:pt>
                <c:pt idx="17">
                  <c:v>11708</c:v>
                </c:pt>
                <c:pt idx="18">
                  <c:v>11289</c:v>
                </c:pt>
                <c:pt idx="19">
                  <c:v>6777</c:v>
                </c:pt>
                <c:pt idx="20">
                  <c:v>4071</c:v>
                </c:pt>
                <c:pt idx="21">
                  <c:v>11421</c:v>
                </c:pt>
                <c:pt idx="22">
                  <c:v>15849</c:v>
                </c:pt>
                <c:pt idx="23">
                  <c:v>13803</c:v>
                </c:pt>
                <c:pt idx="24">
                  <c:v>14594</c:v>
                </c:pt>
                <c:pt idx="25">
                  <c:v>14784</c:v>
                </c:pt>
                <c:pt idx="26">
                  <c:v>7862</c:v>
                </c:pt>
                <c:pt idx="27">
                  <c:v>4594</c:v>
                </c:pt>
                <c:pt idx="28">
                  <c:v>12328</c:v>
                </c:pt>
                <c:pt idx="29">
                  <c:v>16790</c:v>
                </c:pt>
                <c:pt idx="30">
                  <c:v>15242</c:v>
                </c:pt>
                <c:pt idx="31">
                  <c:v>14652</c:v>
                </c:pt>
                <c:pt idx="32">
                  <c:v>13171</c:v>
                </c:pt>
                <c:pt idx="33">
                  <c:v>9130</c:v>
                </c:pt>
                <c:pt idx="34">
                  <c:v>3984</c:v>
                </c:pt>
                <c:pt idx="35">
                  <c:v>10659</c:v>
                </c:pt>
                <c:pt idx="36">
                  <c:v>15363</c:v>
                </c:pt>
                <c:pt idx="37">
                  <c:v>14542</c:v>
                </c:pt>
                <c:pt idx="38">
                  <c:v>11247</c:v>
                </c:pt>
                <c:pt idx="39">
                  <c:v>14977</c:v>
                </c:pt>
                <c:pt idx="40">
                  <c:v>7031</c:v>
                </c:pt>
                <c:pt idx="41">
                  <c:v>3333</c:v>
                </c:pt>
                <c:pt idx="42">
                  <c:v>10633</c:v>
                </c:pt>
                <c:pt idx="43">
                  <c:v>14029</c:v>
                </c:pt>
                <c:pt idx="44">
                  <c:v>12030</c:v>
                </c:pt>
                <c:pt idx="45">
                  <c:v>10662</c:v>
                </c:pt>
                <c:pt idx="46">
                  <c:v>9716</c:v>
                </c:pt>
                <c:pt idx="47">
                  <c:v>5468</c:v>
                </c:pt>
                <c:pt idx="48">
                  <c:v>2391</c:v>
                </c:pt>
                <c:pt idx="49">
                  <c:v>8242</c:v>
                </c:pt>
                <c:pt idx="50">
                  <c:v>10971</c:v>
                </c:pt>
                <c:pt idx="51">
                  <c:v>8853</c:v>
                </c:pt>
                <c:pt idx="52">
                  <c:v>7932</c:v>
                </c:pt>
                <c:pt idx="53">
                  <c:v>7715</c:v>
                </c:pt>
                <c:pt idx="54">
                  <c:v>3970</c:v>
                </c:pt>
                <c:pt idx="55">
                  <c:v>1744</c:v>
                </c:pt>
                <c:pt idx="56">
                  <c:v>6938</c:v>
                </c:pt>
                <c:pt idx="57">
                  <c:v>8635</c:v>
                </c:pt>
                <c:pt idx="58">
                  <c:v>7269</c:v>
                </c:pt>
                <c:pt idx="59">
                  <c:v>6248</c:v>
                </c:pt>
                <c:pt idx="60">
                  <c:v>3836</c:v>
                </c:pt>
                <c:pt idx="61">
                  <c:v>2161</c:v>
                </c:pt>
                <c:pt idx="62">
                  <c:v>1927</c:v>
                </c:pt>
                <c:pt idx="63">
                  <c:v>1419</c:v>
                </c:pt>
                <c:pt idx="64">
                  <c:v>5587</c:v>
                </c:pt>
                <c:pt idx="65">
                  <c:v>7054</c:v>
                </c:pt>
                <c:pt idx="66">
                  <c:v>5283</c:v>
                </c:pt>
                <c:pt idx="67">
                  <c:v>4825</c:v>
                </c:pt>
                <c:pt idx="68">
                  <c:v>2207</c:v>
                </c:pt>
                <c:pt idx="69">
                  <c:v>985</c:v>
                </c:pt>
                <c:pt idx="70">
                  <c:v>3867</c:v>
                </c:pt>
                <c:pt idx="71">
                  <c:v>5055</c:v>
                </c:pt>
                <c:pt idx="72">
                  <c:v>3716</c:v>
                </c:pt>
                <c:pt idx="73">
                  <c:v>3264</c:v>
                </c:pt>
                <c:pt idx="74">
                  <c:v>3218</c:v>
                </c:pt>
                <c:pt idx="75">
                  <c:v>1541</c:v>
                </c:pt>
                <c:pt idx="76">
                  <c:v>833</c:v>
                </c:pt>
                <c:pt idx="77">
                  <c:v>3342</c:v>
                </c:pt>
                <c:pt idx="78">
                  <c:v>3817</c:v>
                </c:pt>
                <c:pt idx="79">
                  <c:v>2951</c:v>
                </c:pt>
                <c:pt idx="80">
                  <c:v>2629</c:v>
                </c:pt>
                <c:pt idx="81">
                  <c:v>2601</c:v>
                </c:pt>
                <c:pt idx="82">
                  <c:v>1308</c:v>
                </c:pt>
                <c:pt idx="83">
                  <c:v>825</c:v>
                </c:pt>
                <c:pt idx="84">
                  <c:v>2580</c:v>
                </c:pt>
                <c:pt idx="85">
                  <c:v>3239</c:v>
                </c:pt>
                <c:pt idx="86">
                  <c:v>2488</c:v>
                </c:pt>
                <c:pt idx="87">
                  <c:v>2229</c:v>
                </c:pt>
                <c:pt idx="88">
                  <c:v>2167</c:v>
                </c:pt>
                <c:pt idx="89">
                  <c:v>1171</c:v>
                </c:pt>
                <c:pt idx="90">
                  <c:v>509</c:v>
                </c:pt>
                <c:pt idx="91">
                  <c:v>2219</c:v>
                </c:pt>
                <c:pt idx="92">
                  <c:v>2416</c:v>
                </c:pt>
                <c:pt idx="93">
                  <c:v>1873</c:v>
                </c:pt>
                <c:pt idx="94">
                  <c:v>1572</c:v>
                </c:pt>
                <c:pt idx="95">
                  <c:v>1638</c:v>
                </c:pt>
                <c:pt idx="96">
                  <c:v>726</c:v>
                </c:pt>
                <c:pt idx="97">
                  <c:v>384</c:v>
                </c:pt>
                <c:pt idx="98">
                  <c:v>1545</c:v>
                </c:pt>
                <c:pt idx="99">
                  <c:v>1690</c:v>
                </c:pt>
                <c:pt idx="100">
                  <c:v>1264</c:v>
                </c:pt>
                <c:pt idx="101">
                  <c:v>1223</c:v>
                </c:pt>
                <c:pt idx="102">
                  <c:v>1051</c:v>
                </c:pt>
                <c:pt idx="103">
                  <c:v>597</c:v>
                </c:pt>
                <c:pt idx="104">
                  <c:v>257</c:v>
                </c:pt>
                <c:pt idx="105">
                  <c:v>1130</c:v>
                </c:pt>
                <c:pt idx="106">
                  <c:v>1199</c:v>
                </c:pt>
                <c:pt idx="107">
                  <c:v>778</c:v>
                </c:pt>
                <c:pt idx="108">
                  <c:v>677</c:v>
                </c:pt>
                <c:pt idx="109">
                  <c:v>671</c:v>
                </c:pt>
                <c:pt idx="110">
                  <c:v>336</c:v>
                </c:pt>
                <c:pt idx="111">
                  <c:v>197</c:v>
                </c:pt>
                <c:pt idx="112">
                  <c:v>697</c:v>
                </c:pt>
                <c:pt idx="113">
                  <c:v>661</c:v>
                </c:pt>
                <c:pt idx="114">
                  <c:v>538</c:v>
                </c:pt>
                <c:pt idx="115">
                  <c:v>506</c:v>
                </c:pt>
                <c:pt idx="116">
                  <c:v>454</c:v>
                </c:pt>
                <c:pt idx="117">
                  <c:v>222</c:v>
                </c:pt>
                <c:pt idx="118">
                  <c:v>112</c:v>
                </c:pt>
                <c:pt idx="119">
                  <c:v>512</c:v>
                </c:pt>
                <c:pt idx="120">
                  <c:v>479</c:v>
                </c:pt>
                <c:pt idx="121">
                  <c:v>353</c:v>
                </c:pt>
                <c:pt idx="122">
                  <c:v>423</c:v>
                </c:pt>
                <c:pt idx="123">
                  <c:v>320</c:v>
                </c:pt>
                <c:pt idx="124">
                  <c:v>153</c:v>
                </c:pt>
                <c:pt idx="125">
                  <c:v>98</c:v>
                </c:pt>
                <c:pt idx="126">
                  <c:v>294</c:v>
                </c:pt>
                <c:pt idx="127">
                  <c:v>386</c:v>
                </c:pt>
                <c:pt idx="128">
                  <c:v>250</c:v>
                </c:pt>
                <c:pt idx="129">
                  <c:v>190</c:v>
                </c:pt>
                <c:pt idx="130">
                  <c:v>179</c:v>
                </c:pt>
                <c:pt idx="131">
                  <c:v>73</c:v>
                </c:pt>
                <c:pt idx="132">
                  <c:v>41</c:v>
                </c:pt>
                <c:pt idx="133">
                  <c:v>175</c:v>
                </c:pt>
                <c:pt idx="134">
                  <c:v>206</c:v>
                </c:pt>
                <c:pt idx="135">
                  <c:v>129</c:v>
                </c:pt>
                <c:pt idx="136">
                  <c:v>157</c:v>
                </c:pt>
                <c:pt idx="137">
                  <c:v>144</c:v>
                </c:pt>
                <c:pt idx="138">
                  <c:v>63</c:v>
                </c:pt>
                <c:pt idx="139">
                  <c:v>57</c:v>
                </c:pt>
                <c:pt idx="140">
                  <c:v>118</c:v>
                </c:pt>
                <c:pt idx="141">
                  <c:v>112</c:v>
                </c:pt>
                <c:pt idx="142">
                  <c:v>105</c:v>
                </c:pt>
                <c:pt idx="143">
                  <c:v>96</c:v>
                </c:pt>
                <c:pt idx="144">
                  <c:v>132</c:v>
                </c:pt>
                <c:pt idx="145">
                  <c:v>68</c:v>
                </c:pt>
                <c:pt idx="146">
                  <c:v>57</c:v>
                </c:pt>
                <c:pt idx="147">
                  <c:v>148</c:v>
                </c:pt>
                <c:pt idx="148">
                  <c:v>156</c:v>
                </c:pt>
                <c:pt idx="149">
                  <c:v>136</c:v>
                </c:pt>
                <c:pt idx="150">
                  <c:v>166</c:v>
                </c:pt>
                <c:pt idx="151">
                  <c:v>163</c:v>
                </c:pt>
                <c:pt idx="152">
                  <c:v>124</c:v>
                </c:pt>
                <c:pt idx="153">
                  <c:v>106</c:v>
                </c:pt>
                <c:pt idx="154">
                  <c:v>125</c:v>
                </c:pt>
                <c:pt idx="155">
                  <c:v>109</c:v>
                </c:pt>
                <c:pt idx="156">
                  <c:v>279</c:v>
                </c:pt>
                <c:pt idx="157">
                  <c:v>249</c:v>
                </c:pt>
                <c:pt idx="158">
                  <c:v>282</c:v>
                </c:pt>
                <c:pt idx="159">
                  <c:v>157</c:v>
                </c:pt>
                <c:pt idx="160">
                  <c:v>148</c:v>
                </c:pt>
                <c:pt idx="161">
                  <c:v>243</c:v>
                </c:pt>
                <c:pt idx="162">
                  <c:v>3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8E-4EA0-96EE-517E285EEC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Plzeň-sever</c:v>
                </c:pt>
                <c:pt idx="1">
                  <c:v>Rokycany</c:v>
                </c:pt>
                <c:pt idx="2">
                  <c:v>Plzeň-město</c:v>
                </c:pt>
                <c:pt idx="3">
                  <c:v>Praha</c:v>
                </c:pt>
                <c:pt idx="4">
                  <c:v>Praha-západ</c:v>
                </c:pt>
                <c:pt idx="5">
                  <c:v>Plzeň-jih</c:v>
                </c:pt>
                <c:pt idx="6">
                  <c:v>Pardubice</c:v>
                </c:pt>
                <c:pt idx="7">
                  <c:v>Beroun</c:v>
                </c:pt>
                <c:pt idx="8">
                  <c:v>Prachatice</c:v>
                </c:pt>
                <c:pt idx="9">
                  <c:v>Benešov</c:v>
                </c:pt>
                <c:pt idx="10">
                  <c:v>Mělník</c:v>
                </c:pt>
                <c:pt idx="11">
                  <c:v>Praha-východ</c:v>
                </c:pt>
                <c:pt idx="12">
                  <c:v>Havlíčkův Brod</c:v>
                </c:pt>
                <c:pt idx="13">
                  <c:v>Třebíč</c:v>
                </c:pt>
                <c:pt idx="14">
                  <c:v>Kladno</c:v>
                </c:pt>
                <c:pt idx="15">
                  <c:v>Žďár nad Sázavou</c:v>
                </c:pt>
                <c:pt idx="16">
                  <c:v>Nymburk</c:v>
                </c:pt>
                <c:pt idx="17">
                  <c:v>Mladá Boleslav</c:v>
                </c:pt>
                <c:pt idx="18">
                  <c:v>Svitavy</c:v>
                </c:pt>
                <c:pt idx="19">
                  <c:v>Kutná Hora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200.81569999999999</c:v>
                </c:pt>
                <c:pt idx="1">
                  <c:v>143.46619999999999</c:v>
                </c:pt>
                <c:pt idx="2">
                  <c:v>197.0848</c:v>
                </c:pt>
                <c:pt idx="3">
                  <c:v>204.2568</c:v>
                </c:pt>
                <c:pt idx="4">
                  <c:v>193.0591</c:v>
                </c:pt>
                <c:pt idx="5">
                  <c:v>192.49690000000001</c:v>
                </c:pt>
                <c:pt idx="6">
                  <c:v>274.78609999999998</c:v>
                </c:pt>
                <c:pt idx="7">
                  <c:v>299.78320000000002</c:v>
                </c:pt>
                <c:pt idx="8">
                  <c:v>376.1397</c:v>
                </c:pt>
                <c:pt idx="9">
                  <c:v>289.7475</c:v>
                </c:pt>
                <c:pt idx="10">
                  <c:v>243.6652</c:v>
                </c:pt>
                <c:pt idx="11">
                  <c:v>192.65479999999999</c:v>
                </c:pt>
                <c:pt idx="12">
                  <c:v>232.52860000000001</c:v>
                </c:pt>
                <c:pt idx="13">
                  <c:v>340.77420000000001</c:v>
                </c:pt>
                <c:pt idx="14">
                  <c:v>230.75309999999999</c:v>
                </c:pt>
                <c:pt idx="15">
                  <c:v>527.38229999999999</c:v>
                </c:pt>
                <c:pt idx="16">
                  <c:v>200.90799999999999</c:v>
                </c:pt>
                <c:pt idx="17">
                  <c:v>306.77190000000002</c:v>
                </c:pt>
                <c:pt idx="18">
                  <c:v>365.38459999999998</c:v>
                </c:pt>
                <c:pt idx="19">
                  <c:v>255.5365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52-401F-B1E0-512B723D069B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Plzeň-sever</c:v>
                </c:pt>
                <c:pt idx="1">
                  <c:v>Rokycany</c:v>
                </c:pt>
                <c:pt idx="2">
                  <c:v>Plzeň-město</c:v>
                </c:pt>
                <c:pt idx="3">
                  <c:v>Praha</c:v>
                </c:pt>
                <c:pt idx="4">
                  <c:v>Praha-západ</c:v>
                </c:pt>
                <c:pt idx="5">
                  <c:v>Plzeň-jih</c:v>
                </c:pt>
                <c:pt idx="6">
                  <c:v>Pardubice</c:v>
                </c:pt>
                <c:pt idx="7">
                  <c:v>Beroun</c:v>
                </c:pt>
                <c:pt idx="8">
                  <c:v>Prachatice</c:v>
                </c:pt>
                <c:pt idx="9">
                  <c:v>Benešov</c:v>
                </c:pt>
                <c:pt idx="10">
                  <c:v>Mělník</c:v>
                </c:pt>
                <c:pt idx="11">
                  <c:v>Praha-východ</c:v>
                </c:pt>
                <c:pt idx="12">
                  <c:v>Havlíčkův Brod</c:v>
                </c:pt>
                <c:pt idx="13">
                  <c:v>Třebíč</c:v>
                </c:pt>
                <c:pt idx="14">
                  <c:v>Kladno</c:v>
                </c:pt>
                <c:pt idx="15">
                  <c:v>Žďár nad Sázavou</c:v>
                </c:pt>
                <c:pt idx="16">
                  <c:v>Nymburk</c:v>
                </c:pt>
                <c:pt idx="17">
                  <c:v>Mladá Boleslav</c:v>
                </c:pt>
                <c:pt idx="18">
                  <c:v>Svitavy</c:v>
                </c:pt>
                <c:pt idx="19">
                  <c:v>Kutná Hora</c:v>
                </c:pt>
              </c:strCache>
            </c:strRef>
          </c:cat>
          <c:val>
            <c:numRef>
              <c:f>Sheet1!$C$2:$C$21</c:f>
              <c:numCache>
                <c:formatCode>General</c:formatCode>
                <c:ptCount val="20"/>
                <c:pt idx="0">
                  <c:v>76.855379999999997</c:v>
                </c:pt>
                <c:pt idx="1">
                  <c:v>80.826040000000006</c:v>
                </c:pt>
                <c:pt idx="2">
                  <c:v>49.2712</c:v>
                </c:pt>
                <c:pt idx="3">
                  <c:v>84.414159999999995</c:v>
                </c:pt>
                <c:pt idx="4">
                  <c:v>78.142960000000002</c:v>
                </c:pt>
                <c:pt idx="5">
                  <c:v>67.017439999999993</c:v>
                </c:pt>
                <c:pt idx="6">
                  <c:v>60.180430000000001</c:v>
                </c:pt>
                <c:pt idx="7">
                  <c:v>126.5521</c:v>
                </c:pt>
                <c:pt idx="8">
                  <c:v>192.9932</c:v>
                </c:pt>
                <c:pt idx="9">
                  <c:v>102.2638</c:v>
                </c:pt>
                <c:pt idx="10">
                  <c:v>116.37739999999999</c:v>
                </c:pt>
                <c:pt idx="11">
                  <c:v>62.983289999999997</c:v>
                </c:pt>
                <c:pt idx="12">
                  <c:v>118.37820000000001</c:v>
                </c:pt>
                <c:pt idx="13">
                  <c:v>130.5093</c:v>
                </c:pt>
                <c:pt idx="14">
                  <c:v>80.314059999999998</c:v>
                </c:pt>
                <c:pt idx="15">
                  <c:v>153.4666</c:v>
                </c:pt>
                <c:pt idx="16">
                  <c:v>53.181539999999998</c:v>
                </c:pt>
                <c:pt idx="17">
                  <c:v>78.600750000000005</c:v>
                </c:pt>
                <c:pt idx="18">
                  <c:v>122.11539999999999</c:v>
                </c:pt>
                <c:pt idx="19">
                  <c:v>141.527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52-401F-B1E0-512B723D069B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29.5.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Plzeň-sever</c:v>
                </c:pt>
                <c:pt idx="1">
                  <c:v>Rokycany</c:v>
                </c:pt>
                <c:pt idx="2">
                  <c:v>Plzeň-město</c:v>
                </c:pt>
                <c:pt idx="3">
                  <c:v>Praha</c:v>
                </c:pt>
                <c:pt idx="4">
                  <c:v>Praha-západ</c:v>
                </c:pt>
                <c:pt idx="5">
                  <c:v>Plzeň-jih</c:v>
                </c:pt>
                <c:pt idx="6">
                  <c:v>Pardubice</c:v>
                </c:pt>
                <c:pt idx="7">
                  <c:v>Beroun</c:v>
                </c:pt>
                <c:pt idx="8">
                  <c:v>Prachatice</c:v>
                </c:pt>
                <c:pt idx="9">
                  <c:v>Benešov</c:v>
                </c:pt>
                <c:pt idx="10">
                  <c:v>Mělník</c:v>
                </c:pt>
                <c:pt idx="11">
                  <c:v>Praha-východ</c:v>
                </c:pt>
                <c:pt idx="12">
                  <c:v>Havlíčkův Brod</c:v>
                </c:pt>
                <c:pt idx="13">
                  <c:v>Třebíč</c:v>
                </c:pt>
                <c:pt idx="14">
                  <c:v>Kladno</c:v>
                </c:pt>
                <c:pt idx="15">
                  <c:v>Žďár nad Sázavou</c:v>
                </c:pt>
                <c:pt idx="16">
                  <c:v>Nymburk</c:v>
                </c:pt>
                <c:pt idx="17">
                  <c:v>Mladá Boleslav</c:v>
                </c:pt>
                <c:pt idx="18">
                  <c:v>Svitavy</c:v>
                </c:pt>
                <c:pt idx="19">
                  <c:v>Kutná Hora</c:v>
                </c:pt>
              </c:strCache>
            </c:strRef>
          </c:cat>
          <c:val>
            <c:numRef>
              <c:f>Sheet1!$D$2:$D$21</c:f>
              <c:numCache>
                <c:formatCode>General</c:formatCode>
                <c:ptCount val="20"/>
                <c:pt idx="0">
                  <c:v>22.312850000000001</c:v>
                </c:pt>
                <c:pt idx="1">
                  <c:v>74.764089999999996</c:v>
                </c:pt>
                <c:pt idx="2">
                  <c:v>27.201809999999998</c:v>
                </c:pt>
                <c:pt idx="3">
                  <c:v>27.0395</c:v>
                </c:pt>
                <c:pt idx="4">
                  <c:v>40.713140000000003</c:v>
                </c:pt>
                <c:pt idx="5">
                  <c:v>18.536740000000002</c:v>
                </c:pt>
                <c:pt idx="6">
                  <c:v>11.92254</c:v>
                </c:pt>
                <c:pt idx="7">
                  <c:v>23.858180000000001</c:v>
                </c:pt>
                <c:pt idx="8">
                  <c:v>23.631820000000001</c:v>
                </c:pt>
                <c:pt idx="9">
                  <c:v>21.054320000000001</c:v>
                </c:pt>
                <c:pt idx="10">
                  <c:v>12.72878</c:v>
                </c:pt>
                <c:pt idx="11">
                  <c:v>19.58304</c:v>
                </c:pt>
                <c:pt idx="12">
                  <c:v>44.391829999999999</c:v>
                </c:pt>
                <c:pt idx="13">
                  <c:v>12.6884</c:v>
                </c:pt>
                <c:pt idx="14">
                  <c:v>16.782039999999999</c:v>
                </c:pt>
                <c:pt idx="15">
                  <c:v>32.219499999999996</c:v>
                </c:pt>
                <c:pt idx="16">
                  <c:v>26.590769999999999</c:v>
                </c:pt>
                <c:pt idx="17">
                  <c:v>19.840969999999999</c:v>
                </c:pt>
                <c:pt idx="18">
                  <c:v>20.192309999999999</c:v>
                </c:pt>
                <c:pt idx="19">
                  <c:v>28.829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52-401F-B1E0-512B723D069B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5.6.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Plzeň-sever</c:v>
                </c:pt>
                <c:pt idx="1">
                  <c:v>Rokycany</c:v>
                </c:pt>
                <c:pt idx="2">
                  <c:v>Plzeň-město</c:v>
                </c:pt>
                <c:pt idx="3">
                  <c:v>Praha</c:v>
                </c:pt>
                <c:pt idx="4">
                  <c:v>Praha-západ</c:v>
                </c:pt>
                <c:pt idx="5">
                  <c:v>Plzeň-jih</c:v>
                </c:pt>
                <c:pt idx="6">
                  <c:v>Pardubice</c:v>
                </c:pt>
                <c:pt idx="7">
                  <c:v>Beroun</c:v>
                </c:pt>
                <c:pt idx="8">
                  <c:v>Prachatice</c:v>
                </c:pt>
                <c:pt idx="9">
                  <c:v>Benešov</c:v>
                </c:pt>
                <c:pt idx="10">
                  <c:v>Mělník</c:v>
                </c:pt>
                <c:pt idx="11">
                  <c:v>Praha-východ</c:v>
                </c:pt>
                <c:pt idx="12">
                  <c:v>Havlíčkův Brod</c:v>
                </c:pt>
                <c:pt idx="13">
                  <c:v>Třebíč</c:v>
                </c:pt>
                <c:pt idx="14">
                  <c:v>Kladno</c:v>
                </c:pt>
                <c:pt idx="15">
                  <c:v>Žďár nad Sázavou</c:v>
                </c:pt>
                <c:pt idx="16">
                  <c:v>Nymburk</c:v>
                </c:pt>
                <c:pt idx="17">
                  <c:v>Mladá Boleslav</c:v>
                </c:pt>
                <c:pt idx="18">
                  <c:v>Svitavy</c:v>
                </c:pt>
                <c:pt idx="19">
                  <c:v>Kutná Hora</c:v>
                </c:pt>
              </c:strCache>
            </c:strRef>
          </c:cat>
          <c:val>
            <c:numRef>
              <c:f>Sheet1!$E$2:$E$21</c:f>
              <c:numCache>
                <c:formatCode>General</c:formatCode>
                <c:ptCount val="20"/>
                <c:pt idx="0">
                  <c:v>58.261330000000001</c:v>
                </c:pt>
                <c:pt idx="1">
                  <c:v>54.557580000000002</c:v>
                </c:pt>
                <c:pt idx="2">
                  <c:v>53.377130000000001</c:v>
                </c:pt>
                <c:pt idx="3">
                  <c:v>42.469239999999999</c:v>
                </c:pt>
                <c:pt idx="4">
                  <c:v>41.369799999999998</c:v>
                </c:pt>
                <c:pt idx="5">
                  <c:v>37.073480000000004</c:v>
                </c:pt>
                <c:pt idx="6">
                  <c:v>27.81925</c:v>
                </c:pt>
                <c:pt idx="7">
                  <c:v>23.858180000000001</c:v>
                </c:pt>
                <c:pt idx="8">
                  <c:v>23.631820000000001</c:v>
                </c:pt>
                <c:pt idx="9">
                  <c:v>23.05949</c:v>
                </c:pt>
                <c:pt idx="10">
                  <c:v>22.729959999999998</c:v>
                </c:pt>
                <c:pt idx="11">
                  <c:v>21.170850000000002</c:v>
                </c:pt>
                <c:pt idx="12">
                  <c:v>21.13897</c:v>
                </c:pt>
                <c:pt idx="13">
                  <c:v>20.845230000000001</c:v>
                </c:pt>
                <c:pt idx="14">
                  <c:v>19.179480000000002</c:v>
                </c:pt>
                <c:pt idx="15">
                  <c:v>18.653390000000002</c:v>
                </c:pt>
                <c:pt idx="16">
                  <c:v>17.727180000000001</c:v>
                </c:pt>
                <c:pt idx="17">
                  <c:v>16.788509999999999</c:v>
                </c:pt>
                <c:pt idx="18">
                  <c:v>15.38462</c:v>
                </c:pt>
                <c:pt idx="19">
                  <c:v>14.414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31-4125-A549-285CF38DF6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935-4A4A-9BB8-7E2A9E5151F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1935-4A4A-9BB8-7E2A9E5151F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1935-4A4A-9BB8-7E2A9E5151F3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C0B3-4B87-942D-9FDA71F63FF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935-4A4A-9BB8-7E2A9E5151F3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1935-4A4A-9BB8-7E2A9E5151F3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09BB-4FCF-8A20-B35A32C88458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1935-4A4A-9BB8-7E2A9E5151F3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C0B3-4B87-942D-9FDA71F63FF9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B4E5-4676-B84B-9F746B76A0FC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Plzeň-sever</c:v>
                </c:pt>
                <c:pt idx="1">
                  <c:v>Rokycany</c:v>
                </c:pt>
                <c:pt idx="2">
                  <c:v>Plzeň-město</c:v>
                </c:pt>
                <c:pt idx="3">
                  <c:v>Praha</c:v>
                </c:pt>
                <c:pt idx="4">
                  <c:v>Praha-západ</c:v>
                </c:pt>
                <c:pt idx="5">
                  <c:v>Plzeň-jih</c:v>
                </c:pt>
                <c:pt idx="6">
                  <c:v>Pardubice</c:v>
                </c:pt>
                <c:pt idx="7">
                  <c:v>Beroun</c:v>
                </c:pt>
                <c:pt idx="8">
                  <c:v>Prachatice</c:v>
                </c:pt>
                <c:pt idx="9">
                  <c:v>Benešov</c:v>
                </c:pt>
                <c:pt idx="10">
                  <c:v>Mělník</c:v>
                </c:pt>
                <c:pt idx="11">
                  <c:v>Praha-východ</c:v>
                </c:pt>
                <c:pt idx="12">
                  <c:v>Havlíčkův Brod</c:v>
                </c:pt>
                <c:pt idx="13">
                  <c:v>Třebíč</c:v>
                </c:pt>
                <c:pt idx="14">
                  <c:v>Kladno</c:v>
                </c:pt>
                <c:pt idx="15">
                  <c:v>Žďár nad Sázavou</c:v>
                </c:pt>
                <c:pt idx="16">
                  <c:v>Nymburk</c:v>
                </c:pt>
                <c:pt idx="17">
                  <c:v>Mladá Boleslav</c:v>
                </c:pt>
                <c:pt idx="18">
                  <c:v>Svitavy</c:v>
                </c:pt>
                <c:pt idx="19">
                  <c:v>Kutná Hora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58.261333069999999</c:v>
                </c:pt>
                <c:pt idx="1">
                  <c:v>54.557578450000001</c:v>
                </c:pt>
                <c:pt idx="2">
                  <c:v>53.377129949999997</c:v>
                </c:pt>
                <c:pt idx="3">
                  <c:v>42.469237890000002</c:v>
                </c:pt>
                <c:pt idx="4">
                  <c:v>41.369800050000002</c:v>
                </c:pt>
                <c:pt idx="5">
                  <c:v>37.07347678</c:v>
                </c:pt>
                <c:pt idx="6">
                  <c:v>27.81925433</c:v>
                </c:pt>
                <c:pt idx="7">
                  <c:v>23.858178689999999</c:v>
                </c:pt>
                <c:pt idx="8">
                  <c:v>23.631816300000001</c:v>
                </c:pt>
                <c:pt idx="9">
                  <c:v>23.059493490000001</c:v>
                </c:pt>
                <c:pt idx="10">
                  <c:v>22.729959000000001</c:v>
                </c:pt>
                <c:pt idx="11">
                  <c:v>21.170854089999999</c:v>
                </c:pt>
                <c:pt idx="12">
                  <c:v>21.138967569999998</c:v>
                </c:pt>
                <c:pt idx="13">
                  <c:v>20.845228710000001</c:v>
                </c:pt>
                <c:pt idx="14">
                  <c:v>19.17947796</c:v>
                </c:pt>
                <c:pt idx="15">
                  <c:v>18.65339449</c:v>
                </c:pt>
                <c:pt idx="16">
                  <c:v>17.727178720000001</c:v>
                </c:pt>
                <c:pt idx="17">
                  <c:v>16.788510550000002</c:v>
                </c:pt>
                <c:pt idx="18">
                  <c:v>15.38461538</c:v>
                </c:pt>
                <c:pt idx="19">
                  <c:v>14.414886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 (zjednodušený výpočet) - 7 denní úseky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05E-4BE4-A359-8EBC5A58012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05E-4BE4-A359-8EBC5A58012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05E-4BE4-A359-8EBC5A58012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05E-4BE4-A359-8EBC5A58012C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05E-4BE4-A359-8EBC5A58012C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09C0-46FD-933E-FB36B350A472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344A-4869-9DBA-297DCE47C6DF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05E-4BE4-A359-8EBC5A5801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E05E-4BE4-A359-8EBC5A58012C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09C0-46FD-933E-FB36B350A47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E05E-4BE4-A359-8EBC5A58012C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26E8-4B21-AF98-119B0A33FD2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09C0-46FD-933E-FB36B350A472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344A-4869-9DBA-297DCE47C6DF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A-EBF4-45FC-9D6C-BD5C7D208870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Plzeň-sever</c:v>
                </c:pt>
                <c:pt idx="1">
                  <c:v>Rokycany</c:v>
                </c:pt>
                <c:pt idx="2">
                  <c:v>Plzeň-město</c:v>
                </c:pt>
                <c:pt idx="3">
                  <c:v>Praha</c:v>
                </c:pt>
                <c:pt idx="4">
                  <c:v>Praha-západ</c:v>
                </c:pt>
                <c:pt idx="5">
                  <c:v>Plzeň-jih</c:v>
                </c:pt>
                <c:pt idx="6">
                  <c:v>Pardubice</c:v>
                </c:pt>
                <c:pt idx="7">
                  <c:v>Beroun</c:v>
                </c:pt>
                <c:pt idx="8">
                  <c:v>Prachatice</c:v>
                </c:pt>
                <c:pt idx="9">
                  <c:v>Benešov</c:v>
                </c:pt>
                <c:pt idx="10">
                  <c:v>Mělník</c:v>
                </c:pt>
                <c:pt idx="11">
                  <c:v>Praha-východ</c:v>
                </c:pt>
                <c:pt idx="12">
                  <c:v>Havlíčkův Brod</c:v>
                </c:pt>
                <c:pt idx="13">
                  <c:v>Třebíč</c:v>
                </c:pt>
                <c:pt idx="14">
                  <c:v>Kladno</c:v>
                </c:pt>
                <c:pt idx="15">
                  <c:v>Žďár nad Sázavou</c:v>
                </c:pt>
                <c:pt idx="16">
                  <c:v>Nymburk</c:v>
                </c:pt>
                <c:pt idx="17">
                  <c:v>Mladá Boleslav</c:v>
                </c:pt>
                <c:pt idx="18">
                  <c:v>Svitavy</c:v>
                </c:pt>
                <c:pt idx="19">
                  <c:v>Kutná Hora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2.0434779999999999</c:v>
                </c:pt>
                <c:pt idx="1">
                  <c:v>2.25</c:v>
                </c:pt>
                <c:pt idx="2">
                  <c:v>1.733333</c:v>
                </c:pt>
                <c:pt idx="3">
                  <c:v>1.257206</c:v>
                </c:pt>
                <c:pt idx="4">
                  <c:v>1.285714</c:v>
                </c:pt>
                <c:pt idx="5">
                  <c:v>1.3684210000000001</c:v>
                </c:pt>
                <c:pt idx="6">
                  <c:v>4.4545450000000004</c:v>
                </c:pt>
                <c:pt idx="7">
                  <c:v>1.769231</c:v>
                </c:pt>
                <c:pt idx="8">
                  <c:v>3</c:v>
                </c:pt>
                <c:pt idx="9">
                  <c:v>1.0952379999999999</c:v>
                </c:pt>
                <c:pt idx="10">
                  <c:v>1.785714</c:v>
                </c:pt>
                <c:pt idx="11">
                  <c:v>1.37931</c:v>
                </c:pt>
                <c:pt idx="12">
                  <c:v>1.538462</c:v>
                </c:pt>
                <c:pt idx="13">
                  <c:v>4.5999999999999996</c:v>
                </c:pt>
                <c:pt idx="14">
                  <c:v>0.94117600000000001</c:v>
                </c:pt>
                <c:pt idx="15">
                  <c:v>1.0476190000000001</c:v>
                </c:pt>
                <c:pt idx="16">
                  <c:v>3.6</c:v>
                </c:pt>
                <c:pt idx="17">
                  <c:v>1.8333330000000001</c:v>
                </c:pt>
                <c:pt idx="18">
                  <c:v>2.285714</c:v>
                </c:pt>
                <c:pt idx="19">
                  <c:v>1.833333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E05E-4BE4-A359-8EBC5A5801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.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9D0-47C0-898E-BF6258A712B5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9D0-47C0-898E-BF6258A712B5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9D0-47C0-898E-BF6258A712B5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B817-4605-BE04-B5F94FABE895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Plzeň-sever</c:v>
                </c:pt>
                <c:pt idx="1">
                  <c:v>Rokycany</c:v>
                </c:pt>
                <c:pt idx="2">
                  <c:v>Plzeň-město</c:v>
                </c:pt>
                <c:pt idx="3">
                  <c:v>Praha</c:v>
                </c:pt>
                <c:pt idx="4">
                  <c:v>Praha-západ</c:v>
                </c:pt>
                <c:pt idx="5">
                  <c:v>Plzeň-jih</c:v>
                </c:pt>
                <c:pt idx="6">
                  <c:v>Pardubice</c:v>
                </c:pt>
                <c:pt idx="7">
                  <c:v>Beroun</c:v>
                </c:pt>
                <c:pt idx="8">
                  <c:v>Prachatice</c:v>
                </c:pt>
                <c:pt idx="9">
                  <c:v>Benešov</c:v>
                </c:pt>
                <c:pt idx="10">
                  <c:v>Mělník</c:v>
                </c:pt>
                <c:pt idx="11">
                  <c:v>Praha-východ</c:v>
                </c:pt>
                <c:pt idx="12">
                  <c:v>Havlíčkův Brod</c:v>
                </c:pt>
                <c:pt idx="13">
                  <c:v>Třebíč</c:v>
                </c:pt>
                <c:pt idx="14">
                  <c:v>Kladno</c:v>
                </c:pt>
                <c:pt idx="15">
                  <c:v>Žďár nad Sázavou</c:v>
                </c:pt>
                <c:pt idx="16">
                  <c:v>Nymburk</c:v>
                </c:pt>
                <c:pt idx="17">
                  <c:v>Mladá Boleslav</c:v>
                </c:pt>
                <c:pt idx="18">
                  <c:v>Svitavy</c:v>
                </c:pt>
                <c:pt idx="19">
                  <c:v>Kutná Hora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3.1065088759999999</c:v>
                </c:pt>
                <c:pt idx="1">
                  <c:v>5.6910569110000004</c:v>
                </c:pt>
                <c:pt idx="2">
                  <c:v>3.3732317740000002</c:v>
                </c:pt>
                <c:pt idx="3">
                  <c:v>1.4468353759999999</c:v>
                </c:pt>
                <c:pt idx="4">
                  <c:v>1.445578231</c:v>
                </c:pt>
                <c:pt idx="5">
                  <c:v>3.5874439460000001</c:v>
                </c:pt>
                <c:pt idx="6">
                  <c:v>1.5559772300000001</c:v>
                </c:pt>
                <c:pt idx="7">
                  <c:v>2.1671826630000002</c:v>
                </c:pt>
                <c:pt idx="8">
                  <c:v>3.8910505839999998</c:v>
                </c:pt>
                <c:pt idx="9">
                  <c:v>2.8753993609999999</c:v>
                </c:pt>
                <c:pt idx="10">
                  <c:v>1.4782608699999999</c:v>
                </c:pt>
                <c:pt idx="11">
                  <c:v>1.1472275329999999</c:v>
                </c:pt>
                <c:pt idx="12">
                  <c:v>1.375515818</c:v>
                </c:pt>
                <c:pt idx="13">
                  <c:v>2.6420079259999998</c:v>
                </c:pt>
                <c:pt idx="14">
                  <c:v>1.441899915</c:v>
                </c:pt>
                <c:pt idx="15">
                  <c:v>0.617283951</c:v>
                </c:pt>
                <c:pt idx="16">
                  <c:v>1.385041551</c:v>
                </c:pt>
                <c:pt idx="17">
                  <c:v>1.3091641490000001</c:v>
                </c:pt>
                <c:pt idx="18">
                  <c:v>1.240694789</c:v>
                </c:pt>
                <c:pt idx="19">
                  <c:v>1.552106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9D0-47C0-898E-BF6258A712B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.0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80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H$2:$H$80</c:f>
              <c:numCache>
                <c:formatCode>General</c:formatCode>
                <c:ptCount val="79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80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I$2:$I$80</c:f>
              <c:numCache>
                <c:formatCode>General</c:formatCode>
                <c:ptCount val="79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0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B$80</c:f>
              <c:numCache>
                <c:formatCode>General</c:formatCode>
                <c:ptCount val="79"/>
                <c:pt idx="0">
                  <c:v>137.351</c:v>
                </c:pt>
                <c:pt idx="1">
                  <c:v>134.3982</c:v>
                </c:pt>
                <c:pt idx="2">
                  <c:v>131.02500000000001</c:v>
                </c:pt>
                <c:pt idx="3">
                  <c:v>123.3347</c:v>
                </c:pt>
                <c:pt idx="4">
                  <c:v>117.5879</c:v>
                </c:pt>
                <c:pt idx="5">
                  <c:v>111.44880000000001</c:v>
                </c:pt>
                <c:pt idx="6">
                  <c:v>106.5057</c:v>
                </c:pt>
                <c:pt idx="7">
                  <c:v>102.3475</c:v>
                </c:pt>
                <c:pt idx="8">
                  <c:v>101.1795</c:v>
                </c:pt>
                <c:pt idx="9">
                  <c:v>94.881439999999998</c:v>
                </c:pt>
                <c:pt idx="10">
                  <c:v>88.097520000000003</c:v>
                </c:pt>
                <c:pt idx="11">
                  <c:v>82.406880000000001</c:v>
                </c:pt>
                <c:pt idx="12">
                  <c:v>79.14573</c:v>
                </c:pt>
                <c:pt idx="13">
                  <c:v>73.660659999999993</c:v>
                </c:pt>
                <c:pt idx="14">
                  <c:v>72.455259999999996</c:v>
                </c:pt>
                <c:pt idx="15">
                  <c:v>71.268540000000002</c:v>
                </c:pt>
                <c:pt idx="16">
                  <c:v>67.390680000000003</c:v>
                </c:pt>
                <c:pt idx="17">
                  <c:v>62.80265</c:v>
                </c:pt>
                <c:pt idx="18">
                  <c:v>58.26135</c:v>
                </c:pt>
                <c:pt idx="19">
                  <c:v>53.159399999999998</c:v>
                </c:pt>
                <c:pt idx="20">
                  <c:v>49.608580000000003</c:v>
                </c:pt>
                <c:pt idx="21">
                  <c:v>47.169739999999997</c:v>
                </c:pt>
                <c:pt idx="22">
                  <c:v>46.609079999999999</c:v>
                </c:pt>
                <c:pt idx="23">
                  <c:v>42.563020000000002</c:v>
                </c:pt>
                <c:pt idx="24">
                  <c:v>37.535820000000001</c:v>
                </c:pt>
                <c:pt idx="25">
                  <c:v>35.293199999999999</c:v>
                </c:pt>
                <c:pt idx="26">
                  <c:v>33.695340000000002</c:v>
                </c:pt>
                <c:pt idx="27">
                  <c:v>31.667639999999999</c:v>
                </c:pt>
                <c:pt idx="28">
                  <c:v>30.60239</c:v>
                </c:pt>
                <c:pt idx="29">
                  <c:v>29.808129999999998</c:v>
                </c:pt>
                <c:pt idx="30">
                  <c:v>28.079450000000001</c:v>
                </c:pt>
                <c:pt idx="31">
                  <c:v>26.378799999999998</c:v>
                </c:pt>
                <c:pt idx="32">
                  <c:v>24.650110000000002</c:v>
                </c:pt>
                <c:pt idx="33">
                  <c:v>23.87454</c:v>
                </c:pt>
                <c:pt idx="34">
                  <c:v>22.622409999999999</c:v>
                </c:pt>
                <c:pt idx="35">
                  <c:v>21.97766</c:v>
                </c:pt>
                <c:pt idx="36">
                  <c:v>21.84684</c:v>
                </c:pt>
                <c:pt idx="37">
                  <c:v>19.80979</c:v>
                </c:pt>
                <c:pt idx="38">
                  <c:v>18.94078</c:v>
                </c:pt>
                <c:pt idx="39">
                  <c:v>17.97832</c:v>
                </c:pt>
                <c:pt idx="40">
                  <c:v>15.80111</c:v>
                </c:pt>
                <c:pt idx="41">
                  <c:v>14.48358</c:v>
                </c:pt>
                <c:pt idx="42">
                  <c:v>13.736039999999999</c:v>
                </c:pt>
                <c:pt idx="43">
                  <c:v>13.20341</c:v>
                </c:pt>
                <c:pt idx="44">
                  <c:v>12.09145</c:v>
                </c:pt>
                <c:pt idx="45">
                  <c:v>10.40949</c:v>
                </c:pt>
                <c:pt idx="46">
                  <c:v>9.2788330000000006</c:v>
                </c:pt>
                <c:pt idx="47">
                  <c:v>8.9704730000000001</c:v>
                </c:pt>
                <c:pt idx="48">
                  <c:v>8.6434239999999996</c:v>
                </c:pt>
                <c:pt idx="49">
                  <c:v>8.549982</c:v>
                </c:pt>
                <c:pt idx="50">
                  <c:v>8.6994900000000008</c:v>
                </c:pt>
                <c:pt idx="51">
                  <c:v>8.1668679999999991</c:v>
                </c:pt>
                <c:pt idx="52">
                  <c:v>7.2885090000000003</c:v>
                </c:pt>
                <c:pt idx="53">
                  <c:v>7.0642469999999999</c:v>
                </c:pt>
                <c:pt idx="54">
                  <c:v>6.4942489999999999</c:v>
                </c:pt>
                <c:pt idx="55">
                  <c:v>6.3821180000000002</c:v>
                </c:pt>
                <c:pt idx="56">
                  <c:v>6.428839</c:v>
                </c:pt>
                <c:pt idx="57">
                  <c:v>6.428839</c:v>
                </c:pt>
                <c:pt idx="58">
                  <c:v>6.7091659999999997</c:v>
                </c:pt>
                <c:pt idx="59">
                  <c:v>7.1203130000000003</c:v>
                </c:pt>
                <c:pt idx="60">
                  <c:v>7.4099839999999997</c:v>
                </c:pt>
                <c:pt idx="61">
                  <c:v>8.0640809999999998</c:v>
                </c:pt>
                <c:pt idx="62">
                  <c:v>8.3537529999999993</c:v>
                </c:pt>
                <c:pt idx="63">
                  <c:v>8.8770299999999995</c:v>
                </c:pt>
                <c:pt idx="64">
                  <c:v>9.3348980000000008</c:v>
                </c:pt>
                <c:pt idx="65">
                  <c:v>9.1199809999999992</c:v>
                </c:pt>
                <c:pt idx="66">
                  <c:v>8.6808010000000007</c:v>
                </c:pt>
                <c:pt idx="67">
                  <c:v>10.01703</c:v>
                </c:pt>
                <c:pt idx="68">
                  <c:v>10.7926</c:v>
                </c:pt>
                <c:pt idx="69">
                  <c:v>11.90457</c:v>
                </c:pt>
                <c:pt idx="70">
                  <c:v>12.21293</c:v>
                </c:pt>
                <c:pt idx="71">
                  <c:v>12.60538</c:v>
                </c:pt>
                <c:pt idx="72">
                  <c:v>13.708</c:v>
                </c:pt>
                <c:pt idx="73">
                  <c:v>15.651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80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C$2:$C$80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80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D$2:$D$80</c:f>
              <c:numCache>
                <c:formatCode>General</c:formatCode>
                <c:ptCount val="79"/>
                <c:pt idx="30" formatCode="0">
                  <c:v>28.483424115286237</c:v>
                </c:pt>
                <c:pt idx="31" formatCode="0">
                  <c:v>26.678663493405004</c:v>
                </c:pt>
                <c:pt idx="32" formatCode="0">
                  <c:v>25.004818149794943</c:v>
                </c:pt>
                <c:pt idx="33" formatCode="0">
                  <c:v>23.480590267066233</c:v>
                </c:pt>
                <c:pt idx="34" formatCode="0">
                  <c:v>22.077926571303614</c:v>
                </c:pt>
                <c:pt idx="35" formatCode="0">
                  <c:v>20.796827062507088</c:v>
                </c:pt>
                <c:pt idx="36" formatCode="0">
                  <c:v>19.618589558066489</c:v>
                </c:pt>
                <c:pt idx="37" formatCode="0">
                  <c:v>18.524511875371648</c:v>
                </c:pt>
                <c:pt idx="38" formatCode="0">
                  <c:v>17.486540740507309</c:v>
                </c:pt>
                <c:pt idx="39" formatCode="0">
                  <c:v>16.504676153473476</c:v>
                </c:pt>
                <c:pt idx="40" formatCode="0">
                  <c:v>15.588269205575234</c:v>
                </c:pt>
                <c:pt idx="41" formatCode="0">
                  <c:v>14.737319896812579</c:v>
                </c:pt>
                <c:pt idx="42" formatCode="0">
                  <c:v>13.942477135880427</c:v>
                </c:pt>
                <c:pt idx="43" formatCode="0">
                  <c:v>13.194389831473698</c:v>
                </c:pt>
                <c:pt idx="44" formatCode="0">
                  <c:v>12.502409074897471</c:v>
                </c:pt>
                <c:pt idx="45" formatCode="0">
                  <c:v>11.8384815922365</c:v>
                </c:pt>
                <c:pt idx="46" formatCode="0">
                  <c:v>11.221309566100947</c:v>
                </c:pt>
                <c:pt idx="47" formatCode="0">
                  <c:v>10.641541905185731</c:v>
                </c:pt>
                <c:pt idx="48" formatCode="0">
                  <c:v>10.099178609490853</c:v>
                </c:pt>
                <c:pt idx="49" formatCode="0">
                  <c:v>9.5942196790163106</c:v>
                </c:pt>
                <c:pt idx="50" formatCode="0">
                  <c:v>9.1266651137621047</c:v>
                </c:pt>
                <c:pt idx="51" formatCode="0">
                  <c:v>8.6778127311180651</c:v>
                </c:pt>
                <c:pt idx="52" formatCode="0">
                  <c:v>8.2663647136943652</c:v>
                </c:pt>
                <c:pt idx="53" formatCode="0">
                  <c:v>7.8736188788808317</c:v>
                </c:pt>
                <c:pt idx="54" formatCode="0">
                  <c:v>7.5089263179825503</c:v>
                </c:pt>
                <c:pt idx="55" formatCode="0">
                  <c:v>7.1722870309995219</c:v>
                </c:pt>
                <c:pt idx="56" formatCode="0">
                  <c:v>6.8449988353215776</c:v>
                </c:pt>
                <c:pt idx="57" formatCode="0">
                  <c:v>6.5364128222538023</c:v>
                </c:pt>
                <c:pt idx="58" formatCode="0">
                  <c:v>6.2465289917961941</c:v>
                </c:pt>
                <c:pt idx="59" formatCode="0">
                  <c:v>5.984698435253839</c:v>
                </c:pt>
                <c:pt idx="60" formatCode="0">
                  <c:v>5.732218970016568</c:v>
                </c:pt>
                <c:pt idx="61" formatCode="0">
                  <c:v>5.4984416873894641</c:v>
                </c:pt>
                <c:pt idx="62" formatCode="0">
                  <c:v>5.2740154960674452</c:v>
                </c:pt>
                <c:pt idx="63" formatCode="0">
                  <c:v>5.0682914873555944</c:v>
                </c:pt>
                <c:pt idx="64" formatCode="0">
                  <c:v>4.8719185699488285</c:v>
                </c:pt>
                <c:pt idx="65" formatCode="0">
                  <c:v>4.6942478351522299</c:v>
                </c:pt>
                <c:pt idx="66" formatCode="0">
                  <c:v>4.5165771003556312</c:v>
                </c:pt>
                <c:pt idx="67" formatCode="0">
                  <c:v>4.3669596394742856</c:v>
                </c:pt>
                <c:pt idx="68" formatCode="0">
                  <c:v>4.2173421785929399</c:v>
                </c:pt>
                <c:pt idx="69" formatCode="0">
                  <c:v>4.0864269003217615</c:v>
                </c:pt>
                <c:pt idx="70" formatCode="0">
                  <c:v>3.9555116220505839</c:v>
                </c:pt>
                <c:pt idx="71" formatCode="0">
                  <c:v>3.8339474350844904</c:v>
                </c:pt>
                <c:pt idx="72" formatCode="0">
                  <c:v>3.7217343394234805</c:v>
                </c:pt>
                <c:pt idx="73" formatCode="0">
                  <c:v>3.6095212437624715</c:v>
                </c:pt>
                <c:pt idx="74" formatCode="0">
                  <c:v>3.5066592394065461</c:v>
                </c:pt>
                <c:pt idx="75" formatCode="0">
                  <c:v>3.4131483263557048</c:v>
                </c:pt>
                <c:pt idx="76" formatCode="0">
                  <c:v>3.3196374133048638</c:v>
                </c:pt>
                <c:pt idx="77" formatCode="0">
                  <c:v>3.2261265002540225</c:v>
                </c:pt>
                <c:pt idx="78" formatCode="0">
                  <c:v>3.15131776981334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80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F$2:$F$80</c:f>
              <c:numCache>
                <c:formatCode>General</c:formatCode>
                <c:ptCount val="79"/>
                <c:pt idx="30" formatCode="0">
                  <c:v>28.483424115286237</c:v>
                </c:pt>
                <c:pt idx="31" formatCode="0">
                  <c:v>27.015302780388033</c:v>
                </c:pt>
                <c:pt idx="32" formatCode="0">
                  <c:v>25.846416367252516</c:v>
                </c:pt>
                <c:pt idx="33" formatCode="0">
                  <c:v>24.911307236744104</c:v>
                </c:pt>
                <c:pt idx="34" formatCode="0">
                  <c:v>24.135166658422122</c:v>
                </c:pt>
                <c:pt idx="35" formatCode="0">
                  <c:v>23.546047906201821</c:v>
                </c:pt>
                <c:pt idx="36" formatCode="0">
                  <c:v>23.16265316269337</c:v>
                </c:pt>
                <c:pt idx="37" formatCode="0">
                  <c:v>22.984982427896774</c:v>
                </c:pt>
                <c:pt idx="38" formatCode="0">
                  <c:v>22.629640958303575</c:v>
                </c:pt>
                <c:pt idx="39" formatCode="0">
                  <c:v>22.218192940879877</c:v>
                </c:pt>
                <c:pt idx="40" formatCode="0">
                  <c:v>21.834798197371427</c:v>
                </c:pt>
                <c:pt idx="41" formatCode="0">
                  <c:v>21.516861092998568</c:v>
                </c:pt>
                <c:pt idx="42" formatCode="0">
                  <c:v>21.255030536456211</c:v>
                </c:pt>
                <c:pt idx="43" formatCode="0">
                  <c:v>21.002551071218942</c:v>
                </c:pt>
                <c:pt idx="44" formatCode="0">
                  <c:v>20.7313694233715</c:v>
                </c:pt>
                <c:pt idx="45" formatCode="0">
                  <c:v>20.422783410303722</c:v>
                </c:pt>
                <c:pt idx="46" formatCode="0">
                  <c:v>20.123548488541033</c:v>
                </c:pt>
                <c:pt idx="47" formatCode="0">
                  <c:v>19.843015749388506</c:v>
                </c:pt>
                <c:pt idx="48" formatCode="0">
                  <c:v>19.599887375456323</c:v>
                </c:pt>
                <c:pt idx="49" formatCode="0">
                  <c:v>19.347407910219051</c:v>
                </c:pt>
                <c:pt idx="50" formatCode="0">
                  <c:v>19.085577353676694</c:v>
                </c:pt>
                <c:pt idx="51" formatCode="0">
                  <c:v>18.823746797134341</c:v>
                </c:pt>
                <c:pt idx="52" formatCode="0">
                  <c:v>18.571267331897069</c:v>
                </c:pt>
                <c:pt idx="53" formatCode="0">
                  <c:v>18.328138957964878</c:v>
                </c:pt>
                <c:pt idx="54" formatCode="0">
                  <c:v>18.103712766642861</c:v>
                </c:pt>
                <c:pt idx="55" formatCode="0">
                  <c:v>17.879286575320844</c:v>
                </c:pt>
                <c:pt idx="56" formatCode="0">
                  <c:v>17.654860383998823</c:v>
                </c:pt>
                <c:pt idx="57" formatCode="0">
                  <c:v>17.430434192676806</c:v>
                </c:pt>
                <c:pt idx="58" formatCode="0">
                  <c:v>17.206008001354789</c:v>
                </c:pt>
                <c:pt idx="59" formatCode="0">
                  <c:v>16.990932901337853</c:v>
                </c:pt>
                <c:pt idx="60" formatCode="0">
                  <c:v>16.785208892626002</c:v>
                </c:pt>
                <c:pt idx="61" formatCode="0">
                  <c:v>16.579484883914152</c:v>
                </c:pt>
                <c:pt idx="62" formatCode="0">
                  <c:v>16.373760875202301</c:v>
                </c:pt>
                <c:pt idx="63" formatCode="0">
                  <c:v>16.16803686649045</c:v>
                </c:pt>
                <c:pt idx="64" formatCode="0">
                  <c:v>15.971663949083682</c:v>
                </c:pt>
                <c:pt idx="65" formatCode="0">
                  <c:v>15.784642122982</c:v>
                </c:pt>
                <c:pt idx="66" formatCode="0">
                  <c:v>15.597620296880317</c:v>
                </c:pt>
                <c:pt idx="67" formatCode="0">
                  <c:v>15.410598470778634</c:v>
                </c:pt>
                <c:pt idx="68" formatCode="0">
                  <c:v>15.232927735982036</c:v>
                </c:pt>
                <c:pt idx="69" formatCode="0">
                  <c:v>15.055257001185437</c:v>
                </c:pt>
                <c:pt idx="70" formatCode="0">
                  <c:v>14.886937357693922</c:v>
                </c:pt>
                <c:pt idx="71" formatCode="0">
                  <c:v>14.718617714202407</c:v>
                </c:pt>
                <c:pt idx="72" formatCode="0">
                  <c:v>14.550298070710896</c:v>
                </c:pt>
                <c:pt idx="73" formatCode="0">
                  <c:v>14.381978427219382</c:v>
                </c:pt>
                <c:pt idx="74" formatCode="0">
                  <c:v>14.22300987503295</c:v>
                </c:pt>
                <c:pt idx="75" formatCode="0">
                  <c:v>14.064041322846521</c:v>
                </c:pt>
                <c:pt idx="76" formatCode="0">
                  <c:v>13.905072770660091</c:v>
                </c:pt>
                <c:pt idx="77" formatCode="0">
                  <c:v>13.755455309778744</c:v>
                </c:pt>
                <c:pt idx="78" formatCode="0">
                  <c:v>13.6058378488973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80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G$2:$G$80</c:f>
              <c:numCache>
                <c:formatCode>General</c:formatCode>
                <c:ptCount val="79"/>
                <c:pt idx="30" formatCode="0">
                  <c:v>28.483424115286237</c:v>
                </c:pt>
                <c:pt idx="31" formatCode="0">
                  <c:v>27.351942067371063</c:v>
                </c:pt>
                <c:pt idx="32" formatCode="0">
                  <c:v>26.697365676015167</c:v>
                </c:pt>
                <c:pt idx="33" formatCode="0">
                  <c:v>26.35137529772706</c:v>
                </c:pt>
                <c:pt idx="34" formatCode="0">
                  <c:v>26.19240674554063</c:v>
                </c:pt>
                <c:pt idx="35" formatCode="0">
                  <c:v>26.33267311511689</c:v>
                </c:pt>
                <c:pt idx="36" formatCode="0">
                  <c:v>26.828280954286345</c:v>
                </c:pt>
                <c:pt idx="37" formatCode="0">
                  <c:v>27.707283536964255</c:v>
                </c:pt>
                <c:pt idx="38" formatCode="0">
                  <c:v>28.249646832659135</c:v>
                </c:pt>
                <c:pt idx="39" formatCode="0">
                  <c:v>28.651743758777751</c:v>
                </c:pt>
                <c:pt idx="40" formatCode="0">
                  <c:v>29.091245050116708</c:v>
                </c:pt>
                <c:pt idx="41" formatCode="0">
                  <c:v>29.689714893642087</c:v>
                </c:pt>
                <c:pt idx="42" formatCode="0">
                  <c:v>30.391046741523397</c:v>
                </c:pt>
                <c:pt idx="43" formatCode="0">
                  <c:v>31.120431863319961</c:v>
                </c:pt>
                <c:pt idx="44" formatCode="0">
                  <c:v>31.784359345980935</c:v>
                </c:pt>
                <c:pt idx="45" formatCode="0">
                  <c:v>32.364127006896148</c:v>
                </c:pt>
                <c:pt idx="46" formatCode="0">
                  <c:v>32.971947941726619</c:v>
                </c:pt>
                <c:pt idx="47" formatCode="0">
                  <c:v>33.663928698302847</c:v>
                </c:pt>
                <c:pt idx="48" formatCode="0">
                  <c:v>34.421367094014656</c:v>
                </c:pt>
                <c:pt idx="49" formatCode="0">
                  <c:v>35.160103307116302</c:v>
                </c:pt>
                <c:pt idx="50" formatCode="0">
                  <c:v>35.870786246302693</c:v>
                </c:pt>
                <c:pt idx="51" formatCode="0">
                  <c:v>36.572118094183999</c:v>
                </c:pt>
                <c:pt idx="52" formatCode="0">
                  <c:v>37.282801033370397</c:v>
                </c:pt>
                <c:pt idx="53" formatCode="0">
                  <c:v>38.049590520387298</c:v>
                </c:pt>
                <c:pt idx="54" formatCode="0">
                  <c:v>38.844433281319446</c:v>
                </c:pt>
                <c:pt idx="55" formatCode="0">
                  <c:v>39.639276042251602</c:v>
                </c:pt>
                <c:pt idx="56" formatCode="0">
                  <c:v>40.424767711878665</c:v>
                </c:pt>
                <c:pt idx="57" formatCode="0">
                  <c:v>41.219610472810814</c:v>
                </c:pt>
                <c:pt idx="58" formatCode="0">
                  <c:v>42.042506507658217</c:v>
                </c:pt>
                <c:pt idx="59" formatCode="0">
                  <c:v>42.893455816420868</c:v>
                </c:pt>
                <c:pt idx="60" formatCode="0">
                  <c:v>43.763107307793696</c:v>
                </c:pt>
                <c:pt idx="61" formatCode="0">
                  <c:v>44.623407707861432</c:v>
                </c:pt>
                <c:pt idx="62" formatCode="0">
                  <c:v>45.502410290539338</c:v>
                </c:pt>
                <c:pt idx="63" formatCode="0">
                  <c:v>46.40011505582742</c:v>
                </c:pt>
                <c:pt idx="64" formatCode="0">
                  <c:v>47.316522003725666</c:v>
                </c:pt>
                <c:pt idx="65" formatCode="0">
                  <c:v>48.251631134234074</c:v>
                </c:pt>
                <c:pt idx="66" formatCode="0">
                  <c:v>49.214793538657737</c:v>
                </c:pt>
                <c:pt idx="67" formatCode="0">
                  <c:v>50.1779559430814</c:v>
                </c:pt>
                <c:pt idx="68" formatCode="0">
                  <c:v>51.169171621420318</c:v>
                </c:pt>
                <c:pt idx="69" formatCode="0">
                  <c:v>52.160387299759236</c:v>
                </c:pt>
                <c:pt idx="70" formatCode="0">
                  <c:v>53.179656252013409</c:v>
                </c:pt>
                <c:pt idx="71" formatCode="0">
                  <c:v>54.217627386877751</c:v>
                </c:pt>
                <c:pt idx="72" formatCode="0">
                  <c:v>55.264949613047165</c:v>
                </c:pt>
                <c:pt idx="73" formatCode="0">
                  <c:v>56.330974021826755</c:v>
                </c:pt>
                <c:pt idx="74" formatCode="0">
                  <c:v>57.4250517045216</c:v>
                </c:pt>
                <c:pt idx="75" formatCode="0">
                  <c:v>58.52848047852153</c:v>
                </c:pt>
                <c:pt idx="76" formatCode="0">
                  <c:v>59.659962526436701</c:v>
                </c:pt>
                <c:pt idx="77" formatCode="0">
                  <c:v>60.810146756962048</c:v>
                </c:pt>
                <c:pt idx="78" formatCode="0">
                  <c:v>61.9790331700975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027161767020882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7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A9C-40D6-AE03-77A85FFA9AD5}"/>
                </c:ext>
              </c:extLst>
            </c:dLbl>
            <c:dLbl>
              <c:idx val="7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F0C-437F-AF06-6849CD78ABD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1:$A$230</c:f>
              <c:numCache>
                <c:formatCode>m/d/yyyy</c:formatCode>
                <c:ptCount val="180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  <c:pt idx="67">
                  <c:v>44354</c:v>
                </c:pt>
                <c:pt idx="68">
                  <c:v>44355</c:v>
                </c:pt>
                <c:pt idx="69">
                  <c:v>44356</c:v>
                </c:pt>
                <c:pt idx="70">
                  <c:v>44357</c:v>
                </c:pt>
                <c:pt idx="71">
                  <c:v>44358</c:v>
                </c:pt>
                <c:pt idx="72">
                  <c:v>44359</c:v>
                </c:pt>
                <c:pt idx="73">
                  <c:v>44360</c:v>
                </c:pt>
                <c:pt idx="74">
                  <c:v>44361</c:v>
                </c:pt>
                <c:pt idx="75">
                  <c:v>44362</c:v>
                </c:pt>
                <c:pt idx="76">
                  <c:v>44363</c:v>
                </c:pt>
                <c:pt idx="77">
                  <c:v>44364</c:v>
                </c:pt>
                <c:pt idx="78">
                  <c:v>44365</c:v>
                </c:pt>
                <c:pt idx="79">
                  <c:v>44366</c:v>
                </c:pt>
                <c:pt idx="80">
                  <c:v>44367</c:v>
                </c:pt>
                <c:pt idx="81">
                  <c:v>44368</c:v>
                </c:pt>
                <c:pt idx="82">
                  <c:v>44369</c:v>
                </c:pt>
                <c:pt idx="83">
                  <c:v>44370</c:v>
                </c:pt>
                <c:pt idx="84">
                  <c:v>44371</c:v>
                </c:pt>
                <c:pt idx="85">
                  <c:v>44372</c:v>
                </c:pt>
                <c:pt idx="86">
                  <c:v>44373</c:v>
                </c:pt>
                <c:pt idx="87">
                  <c:v>44374</c:v>
                </c:pt>
                <c:pt idx="88">
                  <c:v>44375</c:v>
                </c:pt>
                <c:pt idx="89">
                  <c:v>44376</c:v>
                </c:pt>
                <c:pt idx="90">
                  <c:v>44377</c:v>
                </c:pt>
                <c:pt idx="91">
                  <c:v>44378</c:v>
                </c:pt>
                <c:pt idx="92">
                  <c:v>44379</c:v>
                </c:pt>
                <c:pt idx="93">
                  <c:v>44380</c:v>
                </c:pt>
                <c:pt idx="94">
                  <c:v>44381</c:v>
                </c:pt>
                <c:pt idx="95">
                  <c:v>44382</c:v>
                </c:pt>
                <c:pt idx="96">
                  <c:v>44383</c:v>
                </c:pt>
                <c:pt idx="97">
                  <c:v>44384</c:v>
                </c:pt>
                <c:pt idx="98">
                  <c:v>44385</c:v>
                </c:pt>
                <c:pt idx="99">
                  <c:v>44386</c:v>
                </c:pt>
                <c:pt idx="100">
                  <c:v>44387</c:v>
                </c:pt>
                <c:pt idx="101">
                  <c:v>44388</c:v>
                </c:pt>
                <c:pt idx="102">
                  <c:v>44389</c:v>
                </c:pt>
                <c:pt idx="103">
                  <c:v>44390</c:v>
                </c:pt>
              </c:numCache>
            </c:numRef>
          </c:cat>
          <c:val>
            <c:numRef>
              <c:f>Sheet1!$B$51:$B$230</c:f>
              <c:numCache>
                <c:formatCode>General</c:formatCode>
                <c:ptCount val="180"/>
                <c:pt idx="0">
                  <c:v>24833</c:v>
                </c:pt>
                <c:pt idx="1">
                  <c:v>14626</c:v>
                </c:pt>
                <c:pt idx="2">
                  <c:v>8373</c:v>
                </c:pt>
                <c:pt idx="3">
                  <c:v>7095</c:v>
                </c:pt>
                <c:pt idx="4">
                  <c:v>7597</c:v>
                </c:pt>
                <c:pt idx="5">
                  <c:v>25682</c:v>
                </c:pt>
                <c:pt idx="6">
                  <c:v>27791</c:v>
                </c:pt>
                <c:pt idx="7">
                  <c:v>22340</c:v>
                </c:pt>
                <c:pt idx="8">
                  <c:v>22723</c:v>
                </c:pt>
                <c:pt idx="9">
                  <c:v>11120</c:v>
                </c:pt>
                <c:pt idx="10">
                  <c:v>5863</c:v>
                </c:pt>
                <c:pt idx="11">
                  <c:v>21512</c:v>
                </c:pt>
                <c:pt idx="12">
                  <c:v>24271</c:v>
                </c:pt>
                <c:pt idx="13">
                  <c:v>21016</c:v>
                </c:pt>
                <c:pt idx="14">
                  <c:v>17482</c:v>
                </c:pt>
                <c:pt idx="15">
                  <c:v>19186</c:v>
                </c:pt>
                <c:pt idx="16">
                  <c:v>9756</c:v>
                </c:pt>
                <c:pt idx="17">
                  <c:v>6189</c:v>
                </c:pt>
                <c:pt idx="18">
                  <c:v>21604</c:v>
                </c:pt>
                <c:pt idx="19">
                  <c:v>22294</c:v>
                </c:pt>
                <c:pt idx="20">
                  <c:v>19216</c:v>
                </c:pt>
                <c:pt idx="21">
                  <c:v>18156</c:v>
                </c:pt>
                <c:pt idx="22">
                  <c:v>18224</c:v>
                </c:pt>
                <c:pt idx="23">
                  <c:v>9221</c:v>
                </c:pt>
                <c:pt idx="24">
                  <c:v>5399</c:v>
                </c:pt>
                <c:pt idx="25">
                  <c:v>20925</c:v>
                </c:pt>
                <c:pt idx="26">
                  <c:v>20094</c:v>
                </c:pt>
                <c:pt idx="27">
                  <c:v>19746</c:v>
                </c:pt>
                <c:pt idx="28">
                  <c:v>18903</c:v>
                </c:pt>
                <c:pt idx="29">
                  <c:v>19368</c:v>
                </c:pt>
                <c:pt idx="30">
                  <c:v>10327</c:v>
                </c:pt>
                <c:pt idx="31">
                  <c:v>5780</c:v>
                </c:pt>
                <c:pt idx="32">
                  <c:v>19689</c:v>
                </c:pt>
                <c:pt idx="33">
                  <c:v>19759</c:v>
                </c:pt>
                <c:pt idx="34">
                  <c:v>16682</c:v>
                </c:pt>
                <c:pt idx="35">
                  <c:v>15918</c:v>
                </c:pt>
                <c:pt idx="36">
                  <c:v>17983</c:v>
                </c:pt>
                <c:pt idx="37">
                  <c:v>12137</c:v>
                </c:pt>
                <c:pt idx="38">
                  <c:v>5882</c:v>
                </c:pt>
                <c:pt idx="39">
                  <c:v>22224</c:v>
                </c:pt>
                <c:pt idx="40">
                  <c:v>17458</c:v>
                </c:pt>
                <c:pt idx="41">
                  <c:v>15270</c:v>
                </c:pt>
                <c:pt idx="42">
                  <c:v>14314</c:v>
                </c:pt>
                <c:pt idx="43">
                  <c:v>17389</c:v>
                </c:pt>
                <c:pt idx="44">
                  <c:v>15063</c:v>
                </c:pt>
                <c:pt idx="45">
                  <c:v>7118</c:v>
                </c:pt>
                <c:pt idx="46">
                  <c:v>36490</c:v>
                </c:pt>
                <c:pt idx="47">
                  <c:v>24685</c:v>
                </c:pt>
                <c:pt idx="48">
                  <c:v>25288</c:v>
                </c:pt>
                <c:pt idx="49">
                  <c:v>19339</c:v>
                </c:pt>
                <c:pt idx="50">
                  <c:v>27681</c:v>
                </c:pt>
                <c:pt idx="51">
                  <c:v>9900</c:v>
                </c:pt>
                <c:pt idx="52">
                  <c:v>4464</c:v>
                </c:pt>
                <c:pt idx="53">
                  <c:v>30291</c:v>
                </c:pt>
                <c:pt idx="54">
                  <c:v>21377</c:v>
                </c:pt>
                <c:pt idx="55">
                  <c:v>21813</c:v>
                </c:pt>
                <c:pt idx="56">
                  <c:v>17316</c:v>
                </c:pt>
                <c:pt idx="57">
                  <c:v>21974</c:v>
                </c:pt>
                <c:pt idx="58">
                  <c:v>8968</c:v>
                </c:pt>
                <c:pt idx="59">
                  <c:v>4503</c:v>
                </c:pt>
                <c:pt idx="60">
                  <c:v>28371</c:v>
                </c:pt>
                <c:pt idx="61">
                  <c:v>25746</c:v>
                </c:pt>
                <c:pt idx="62">
                  <c:v>26272</c:v>
                </c:pt>
                <c:pt idx="63">
                  <c:v>26186</c:v>
                </c:pt>
                <c:pt idx="64">
                  <c:v>26633</c:v>
                </c:pt>
                <c:pt idx="65">
                  <c:v>12062</c:v>
                </c:pt>
                <c:pt idx="66">
                  <c:v>5932</c:v>
                </c:pt>
                <c:pt idx="67">
                  <c:v>31849</c:v>
                </c:pt>
                <c:pt idx="68">
                  <c:v>23562</c:v>
                </c:pt>
                <c:pt idx="69">
                  <c:v>30317</c:v>
                </c:pt>
                <c:pt idx="70">
                  <c:v>20702</c:v>
                </c:pt>
                <c:pt idx="71">
                  <c:v>27991</c:v>
                </c:pt>
                <c:pt idx="72">
                  <c:v>12295</c:v>
                </c:pt>
                <c:pt idx="73">
                  <c:v>6543</c:v>
                </c:pt>
                <c:pt idx="74">
                  <c:v>33780</c:v>
                </c:pt>
                <c:pt idx="75">
                  <c:v>27611</c:v>
                </c:pt>
                <c:pt idx="76">
                  <c:v>30852</c:v>
                </c:pt>
                <c:pt idx="77">
                  <c:v>28640</c:v>
                </c:pt>
                <c:pt idx="78">
                  <c:v>37220</c:v>
                </c:pt>
                <c:pt idx="79">
                  <c:v>13454</c:v>
                </c:pt>
                <c:pt idx="80">
                  <c:v>6851</c:v>
                </c:pt>
                <c:pt idx="81">
                  <c:v>30857</c:v>
                </c:pt>
                <c:pt idx="82">
                  <c:v>25227</c:v>
                </c:pt>
                <c:pt idx="83">
                  <c:v>23721</c:v>
                </c:pt>
                <c:pt idx="84">
                  <c:v>28983</c:v>
                </c:pt>
                <c:pt idx="85">
                  <c:v>27653</c:v>
                </c:pt>
                <c:pt idx="86">
                  <c:v>23080</c:v>
                </c:pt>
                <c:pt idx="87">
                  <c:v>7386</c:v>
                </c:pt>
                <c:pt idx="88">
                  <c:v>32307</c:v>
                </c:pt>
                <c:pt idx="89">
                  <c:v>43767</c:v>
                </c:pt>
                <c:pt idx="90">
                  <c:v>37129</c:v>
                </c:pt>
                <c:pt idx="91">
                  <c:v>44849</c:v>
                </c:pt>
                <c:pt idx="92">
                  <c:v>44697</c:v>
                </c:pt>
                <c:pt idx="93">
                  <c:v>37660</c:v>
                </c:pt>
                <c:pt idx="94">
                  <c:v>12429</c:v>
                </c:pt>
                <c:pt idx="95">
                  <c:v>12110</c:v>
                </c:pt>
                <c:pt idx="96">
                  <c:v>9533</c:v>
                </c:pt>
                <c:pt idx="97">
                  <c:v>23618</c:v>
                </c:pt>
                <c:pt idx="98">
                  <c:v>31581</c:v>
                </c:pt>
                <c:pt idx="99">
                  <c:v>37212</c:v>
                </c:pt>
                <c:pt idx="100">
                  <c:v>25583</c:v>
                </c:pt>
                <c:pt idx="101">
                  <c:v>14117</c:v>
                </c:pt>
                <c:pt idx="102">
                  <c:v>30260</c:v>
                </c:pt>
                <c:pt idx="103">
                  <c:v>278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0C-437F-AF06-6849CD78AB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7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758-41C9-919E-1465BCF0C874}"/>
                </c:ext>
              </c:extLst>
            </c:dLbl>
            <c:dLbl>
              <c:idx val="7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F0C-437F-AF06-6849CD78ABD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1:$A$230</c:f>
              <c:numCache>
                <c:formatCode>m/d/yyyy</c:formatCode>
                <c:ptCount val="180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  <c:pt idx="67">
                  <c:v>44354</c:v>
                </c:pt>
                <c:pt idx="68">
                  <c:v>44355</c:v>
                </c:pt>
                <c:pt idx="69">
                  <c:v>44356</c:v>
                </c:pt>
                <c:pt idx="70">
                  <c:v>44357</c:v>
                </c:pt>
                <c:pt idx="71">
                  <c:v>44358</c:v>
                </c:pt>
                <c:pt idx="72">
                  <c:v>44359</c:v>
                </c:pt>
                <c:pt idx="73">
                  <c:v>44360</c:v>
                </c:pt>
                <c:pt idx="74">
                  <c:v>44361</c:v>
                </c:pt>
                <c:pt idx="75">
                  <c:v>44362</c:v>
                </c:pt>
                <c:pt idx="76">
                  <c:v>44363</c:v>
                </c:pt>
                <c:pt idx="77">
                  <c:v>44364</c:v>
                </c:pt>
                <c:pt idx="78">
                  <c:v>44365</c:v>
                </c:pt>
                <c:pt idx="79">
                  <c:v>44366</c:v>
                </c:pt>
                <c:pt idx="80">
                  <c:v>44367</c:v>
                </c:pt>
                <c:pt idx="81">
                  <c:v>44368</c:v>
                </c:pt>
                <c:pt idx="82">
                  <c:v>44369</c:v>
                </c:pt>
                <c:pt idx="83">
                  <c:v>44370</c:v>
                </c:pt>
                <c:pt idx="84">
                  <c:v>44371</c:v>
                </c:pt>
                <c:pt idx="85">
                  <c:v>44372</c:v>
                </c:pt>
                <c:pt idx="86">
                  <c:v>44373</c:v>
                </c:pt>
                <c:pt idx="87">
                  <c:v>44374</c:v>
                </c:pt>
                <c:pt idx="88">
                  <c:v>44375</c:v>
                </c:pt>
                <c:pt idx="89">
                  <c:v>44376</c:v>
                </c:pt>
                <c:pt idx="90">
                  <c:v>44377</c:v>
                </c:pt>
                <c:pt idx="91">
                  <c:v>44378</c:v>
                </c:pt>
                <c:pt idx="92">
                  <c:v>44379</c:v>
                </c:pt>
                <c:pt idx="93">
                  <c:v>44380</c:v>
                </c:pt>
                <c:pt idx="94">
                  <c:v>44381</c:v>
                </c:pt>
                <c:pt idx="95">
                  <c:v>44382</c:v>
                </c:pt>
                <c:pt idx="96">
                  <c:v>44383</c:v>
                </c:pt>
                <c:pt idx="97">
                  <c:v>44384</c:v>
                </c:pt>
                <c:pt idx="98">
                  <c:v>44385</c:v>
                </c:pt>
                <c:pt idx="99">
                  <c:v>44386</c:v>
                </c:pt>
                <c:pt idx="100">
                  <c:v>44387</c:v>
                </c:pt>
                <c:pt idx="101">
                  <c:v>44388</c:v>
                </c:pt>
                <c:pt idx="102">
                  <c:v>44389</c:v>
                </c:pt>
                <c:pt idx="103">
                  <c:v>44390</c:v>
                </c:pt>
              </c:numCache>
            </c:numRef>
          </c:cat>
          <c:val>
            <c:numRef>
              <c:f>Sheet1!$B$51:$B$230</c:f>
              <c:numCache>
                <c:formatCode>General</c:formatCode>
                <c:ptCount val="180"/>
                <c:pt idx="0">
                  <c:v>247256</c:v>
                </c:pt>
                <c:pt idx="1">
                  <c:v>50348</c:v>
                </c:pt>
                <c:pt idx="2">
                  <c:v>36996</c:v>
                </c:pt>
                <c:pt idx="3">
                  <c:v>35916</c:v>
                </c:pt>
                <c:pt idx="4">
                  <c:v>54942</c:v>
                </c:pt>
                <c:pt idx="5">
                  <c:v>390651</c:v>
                </c:pt>
                <c:pt idx="6">
                  <c:v>256943</c:v>
                </c:pt>
                <c:pt idx="7">
                  <c:v>227718</c:v>
                </c:pt>
                <c:pt idx="8">
                  <c:v>157521</c:v>
                </c:pt>
                <c:pt idx="9">
                  <c:v>41994</c:v>
                </c:pt>
                <c:pt idx="10">
                  <c:v>53725</c:v>
                </c:pt>
                <c:pt idx="11">
                  <c:v>283074</c:v>
                </c:pt>
                <c:pt idx="12">
                  <c:v>253508</c:v>
                </c:pt>
                <c:pt idx="13">
                  <c:v>225547</c:v>
                </c:pt>
                <c:pt idx="14">
                  <c:v>221071</c:v>
                </c:pt>
                <c:pt idx="15">
                  <c:v>143312</c:v>
                </c:pt>
                <c:pt idx="16">
                  <c:v>40894</c:v>
                </c:pt>
                <c:pt idx="17">
                  <c:v>59231</c:v>
                </c:pt>
                <c:pt idx="18">
                  <c:v>289375</c:v>
                </c:pt>
                <c:pt idx="19">
                  <c:v>249883</c:v>
                </c:pt>
                <c:pt idx="20">
                  <c:v>223807</c:v>
                </c:pt>
                <c:pt idx="21">
                  <c:v>223735</c:v>
                </c:pt>
                <c:pt idx="22">
                  <c:v>151554</c:v>
                </c:pt>
                <c:pt idx="23">
                  <c:v>45810</c:v>
                </c:pt>
                <c:pt idx="24">
                  <c:v>54604</c:v>
                </c:pt>
                <c:pt idx="25">
                  <c:v>291826</c:v>
                </c:pt>
                <c:pt idx="26">
                  <c:v>249838</c:v>
                </c:pt>
                <c:pt idx="27">
                  <c:v>227761</c:v>
                </c:pt>
                <c:pt idx="28">
                  <c:v>231595</c:v>
                </c:pt>
                <c:pt idx="29">
                  <c:v>153212</c:v>
                </c:pt>
                <c:pt idx="30">
                  <c:v>34646</c:v>
                </c:pt>
                <c:pt idx="31">
                  <c:v>68964</c:v>
                </c:pt>
                <c:pt idx="32">
                  <c:v>329840</c:v>
                </c:pt>
                <c:pt idx="33">
                  <c:v>271449</c:v>
                </c:pt>
                <c:pt idx="34">
                  <c:v>239305</c:v>
                </c:pt>
                <c:pt idx="35">
                  <c:v>235275</c:v>
                </c:pt>
                <c:pt idx="36">
                  <c:v>156996</c:v>
                </c:pt>
                <c:pt idx="37">
                  <c:v>37588</c:v>
                </c:pt>
                <c:pt idx="38">
                  <c:v>67689</c:v>
                </c:pt>
                <c:pt idx="39">
                  <c:v>335511</c:v>
                </c:pt>
                <c:pt idx="40">
                  <c:v>263680</c:v>
                </c:pt>
                <c:pt idx="41">
                  <c:v>234869</c:v>
                </c:pt>
                <c:pt idx="42">
                  <c:v>241233</c:v>
                </c:pt>
                <c:pt idx="43">
                  <c:v>160215</c:v>
                </c:pt>
                <c:pt idx="44">
                  <c:v>38767</c:v>
                </c:pt>
                <c:pt idx="45">
                  <c:v>65133</c:v>
                </c:pt>
                <c:pt idx="46">
                  <c:v>362986</c:v>
                </c:pt>
                <c:pt idx="47">
                  <c:v>278830</c:v>
                </c:pt>
                <c:pt idx="48">
                  <c:v>248023</c:v>
                </c:pt>
                <c:pt idx="49">
                  <c:v>257413</c:v>
                </c:pt>
                <c:pt idx="50">
                  <c:v>190740</c:v>
                </c:pt>
                <c:pt idx="51">
                  <c:v>46791</c:v>
                </c:pt>
                <c:pt idx="52">
                  <c:v>66851</c:v>
                </c:pt>
                <c:pt idx="53">
                  <c:v>335988</c:v>
                </c:pt>
                <c:pt idx="54">
                  <c:v>242228</c:v>
                </c:pt>
                <c:pt idx="55">
                  <c:v>208869</c:v>
                </c:pt>
                <c:pt idx="56">
                  <c:v>218046</c:v>
                </c:pt>
                <c:pt idx="57">
                  <c:v>173128</c:v>
                </c:pt>
                <c:pt idx="58">
                  <c:v>46181</c:v>
                </c:pt>
                <c:pt idx="59">
                  <c:v>59664</c:v>
                </c:pt>
                <c:pt idx="60">
                  <c:v>308275</c:v>
                </c:pt>
                <c:pt idx="61">
                  <c:v>209550</c:v>
                </c:pt>
                <c:pt idx="62">
                  <c:v>183980</c:v>
                </c:pt>
                <c:pt idx="63">
                  <c:v>198041</c:v>
                </c:pt>
                <c:pt idx="64">
                  <c:v>157359</c:v>
                </c:pt>
                <c:pt idx="65">
                  <c:v>37733</c:v>
                </c:pt>
                <c:pt idx="66">
                  <c:v>48617</c:v>
                </c:pt>
                <c:pt idx="67">
                  <c:v>239419</c:v>
                </c:pt>
                <c:pt idx="68">
                  <c:v>173321</c:v>
                </c:pt>
                <c:pt idx="69">
                  <c:v>153918</c:v>
                </c:pt>
                <c:pt idx="70">
                  <c:v>171416</c:v>
                </c:pt>
                <c:pt idx="71">
                  <c:v>147251</c:v>
                </c:pt>
                <c:pt idx="72">
                  <c:v>35647</c:v>
                </c:pt>
                <c:pt idx="73">
                  <c:v>41819</c:v>
                </c:pt>
                <c:pt idx="74">
                  <c:v>210660</c:v>
                </c:pt>
                <c:pt idx="75">
                  <c:v>155935</c:v>
                </c:pt>
                <c:pt idx="76">
                  <c:v>143264</c:v>
                </c:pt>
                <c:pt idx="77">
                  <c:v>169714</c:v>
                </c:pt>
                <c:pt idx="78">
                  <c:v>140285</c:v>
                </c:pt>
                <c:pt idx="79">
                  <c:v>35132</c:v>
                </c:pt>
                <c:pt idx="80">
                  <c:v>36704</c:v>
                </c:pt>
                <c:pt idx="81">
                  <c:v>180832</c:v>
                </c:pt>
                <c:pt idx="82">
                  <c:v>128083</c:v>
                </c:pt>
                <c:pt idx="83">
                  <c:v>125730</c:v>
                </c:pt>
                <c:pt idx="84">
                  <c:v>142193</c:v>
                </c:pt>
                <c:pt idx="85">
                  <c:v>116320</c:v>
                </c:pt>
                <c:pt idx="86">
                  <c:v>28810</c:v>
                </c:pt>
                <c:pt idx="87">
                  <c:v>32267</c:v>
                </c:pt>
                <c:pt idx="88">
                  <c:v>155430</c:v>
                </c:pt>
                <c:pt idx="89">
                  <c:v>92892</c:v>
                </c:pt>
                <c:pt idx="90">
                  <c:v>95015</c:v>
                </c:pt>
                <c:pt idx="91">
                  <c:v>75808</c:v>
                </c:pt>
                <c:pt idx="92">
                  <c:v>104649</c:v>
                </c:pt>
                <c:pt idx="93">
                  <c:v>39734</c:v>
                </c:pt>
                <c:pt idx="94">
                  <c:v>33536</c:v>
                </c:pt>
                <c:pt idx="95">
                  <c:v>31578</c:v>
                </c:pt>
                <c:pt idx="96">
                  <c:v>29583</c:v>
                </c:pt>
                <c:pt idx="97">
                  <c:v>55818</c:v>
                </c:pt>
                <c:pt idx="98">
                  <c:v>57202</c:v>
                </c:pt>
                <c:pt idx="99">
                  <c:v>93245</c:v>
                </c:pt>
                <c:pt idx="100">
                  <c:v>42034</c:v>
                </c:pt>
                <c:pt idx="101">
                  <c:v>50224</c:v>
                </c:pt>
                <c:pt idx="102">
                  <c:v>79235</c:v>
                </c:pt>
                <c:pt idx="103">
                  <c:v>567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0C-437F-AF06-6849CD78AB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455437769925402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  <c:pt idx="261">
                  <c:v>44337</c:v>
                </c:pt>
                <c:pt idx="262">
                  <c:v>44338</c:v>
                </c:pt>
                <c:pt idx="263">
                  <c:v>44339</c:v>
                </c:pt>
                <c:pt idx="264">
                  <c:v>44340</c:v>
                </c:pt>
                <c:pt idx="265">
                  <c:v>44341</c:v>
                </c:pt>
                <c:pt idx="266">
                  <c:v>44342</c:v>
                </c:pt>
                <c:pt idx="267">
                  <c:v>44343</c:v>
                </c:pt>
                <c:pt idx="268">
                  <c:v>44344</c:v>
                </c:pt>
                <c:pt idx="269">
                  <c:v>44345</c:v>
                </c:pt>
                <c:pt idx="270">
                  <c:v>44346</c:v>
                </c:pt>
                <c:pt idx="271">
                  <c:v>44347</c:v>
                </c:pt>
                <c:pt idx="272">
                  <c:v>44348</c:v>
                </c:pt>
                <c:pt idx="273">
                  <c:v>44349</c:v>
                </c:pt>
                <c:pt idx="274">
                  <c:v>44350</c:v>
                </c:pt>
                <c:pt idx="275">
                  <c:v>44351</c:v>
                </c:pt>
                <c:pt idx="276">
                  <c:v>44352</c:v>
                </c:pt>
                <c:pt idx="277">
                  <c:v>44353</c:v>
                </c:pt>
                <c:pt idx="278">
                  <c:v>44354</c:v>
                </c:pt>
                <c:pt idx="279">
                  <c:v>44355</c:v>
                </c:pt>
                <c:pt idx="280">
                  <c:v>44356</c:v>
                </c:pt>
                <c:pt idx="281">
                  <c:v>44357</c:v>
                </c:pt>
                <c:pt idx="282">
                  <c:v>44358</c:v>
                </c:pt>
                <c:pt idx="283">
                  <c:v>44359</c:v>
                </c:pt>
                <c:pt idx="284">
                  <c:v>44360</c:v>
                </c:pt>
                <c:pt idx="285">
                  <c:v>44361</c:v>
                </c:pt>
                <c:pt idx="286">
                  <c:v>44362</c:v>
                </c:pt>
                <c:pt idx="287">
                  <c:v>44363</c:v>
                </c:pt>
                <c:pt idx="288">
                  <c:v>44364</c:v>
                </c:pt>
                <c:pt idx="289">
                  <c:v>44365</c:v>
                </c:pt>
                <c:pt idx="290">
                  <c:v>44366</c:v>
                </c:pt>
                <c:pt idx="291">
                  <c:v>44367</c:v>
                </c:pt>
                <c:pt idx="292">
                  <c:v>44368</c:v>
                </c:pt>
                <c:pt idx="293">
                  <c:v>44369</c:v>
                </c:pt>
                <c:pt idx="294">
                  <c:v>44370</c:v>
                </c:pt>
                <c:pt idx="295">
                  <c:v>44371</c:v>
                </c:pt>
                <c:pt idx="296">
                  <c:v>44372</c:v>
                </c:pt>
                <c:pt idx="297">
                  <c:v>44373</c:v>
                </c:pt>
                <c:pt idx="298">
                  <c:v>44374</c:v>
                </c:pt>
                <c:pt idx="299">
                  <c:v>44375</c:v>
                </c:pt>
                <c:pt idx="300">
                  <c:v>44376</c:v>
                </c:pt>
                <c:pt idx="301">
                  <c:v>44377</c:v>
                </c:pt>
                <c:pt idx="302">
                  <c:v>44378</c:v>
                </c:pt>
                <c:pt idx="303">
                  <c:v>44379</c:v>
                </c:pt>
                <c:pt idx="304">
                  <c:v>44380</c:v>
                </c:pt>
                <c:pt idx="305">
                  <c:v>44381</c:v>
                </c:pt>
                <c:pt idx="306">
                  <c:v>44382</c:v>
                </c:pt>
                <c:pt idx="307">
                  <c:v>44383</c:v>
                </c:pt>
                <c:pt idx="308">
                  <c:v>44384</c:v>
                </c:pt>
                <c:pt idx="309">
                  <c:v>44385</c:v>
                </c:pt>
                <c:pt idx="310">
                  <c:v>44386</c:v>
                </c:pt>
                <c:pt idx="311">
                  <c:v>44387</c:v>
                </c:pt>
                <c:pt idx="312">
                  <c:v>44388</c:v>
                </c:pt>
                <c:pt idx="313">
                  <c:v>44389</c:v>
                </c:pt>
                <c:pt idx="314">
                  <c:v>44390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7.3011000000000006E-2</c:v>
                </c:pt>
                <c:pt idx="1">
                  <c:v>7.2053000000000006E-2</c:v>
                </c:pt>
                <c:pt idx="2">
                  <c:v>8.5341E-2</c:v>
                </c:pt>
                <c:pt idx="3">
                  <c:v>7.1140999999999996E-2</c:v>
                </c:pt>
                <c:pt idx="4">
                  <c:v>0.119536</c:v>
                </c:pt>
                <c:pt idx="5">
                  <c:v>5.9444999999999998E-2</c:v>
                </c:pt>
                <c:pt idx="6">
                  <c:v>8.9122000000000007E-2</c:v>
                </c:pt>
                <c:pt idx="7">
                  <c:v>9.0218999999999994E-2</c:v>
                </c:pt>
                <c:pt idx="8">
                  <c:v>0.105492</c:v>
                </c:pt>
                <c:pt idx="9">
                  <c:v>8.0128000000000005E-2</c:v>
                </c:pt>
                <c:pt idx="10">
                  <c:v>0.150564</c:v>
                </c:pt>
                <c:pt idx="11">
                  <c:v>0.149701</c:v>
                </c:pt>
                <c:pt idx="12">
                  <c:v>6.9500999999999993E-2</c:v>
                </c:pt>
                <c:pt idx="13">
                  <c:v>8.4898000000000001E-2</c:v>
                </c:pt>
                <c:pt idx="14">
                  <c:v>0.122156</c:v>
                </c:pt>
                <c:pt idx="15">
                  <c:v>0.17871699999999999</c:v>
                </c:pt>
                <c:pt idx="16">
                  <c:v>0.139706</c:v>
                </c:pt>
                <c:pt idx="17">
                  <c:v>0.14448800000000001</c:v>
                </c:pt>
                <c:pt idx="18">
                  <c:v>0.10979899999999999</c:v>
                </c:pt>
                <c:pt idx="19">
                  <c:v>9.2079999999999995E-2</c:v>
                </c:pt>
                <c:pt idx="20">
                  <c:v>0.135963</c:v>
                </c:pt>
                <c:pt idx="21">
                  <c:v>0.134605</c:v>
                </c:pt>
                <c:pt idx="22">
                  <c:v>0.15223500000000001</c:v>
                </c:pt>
                <c:pt idx="23">
                  <c:v>0.16918</c:v>
                </c:pt>
                <c:pt idx="24">
                  <c:v>0.15778300000000001</c:v>
                </c:pt>
                <c:pt idx="25">
                  <c:v>0.150223</c:v>
                </c:pt>
                <c:pt idx="26">
                  <c:v>0.141296</c:v>
                </c:pt>
                <c:pt idx="27">
                  <c:v>0.14521200000000001</c:v>
                </c:pt>
                <c:pt idx="28">
                  <c:v>0.17648900000000001</c:v>
                </c:pt>
                <c:pt idx="29">
                  <c:v>0.20615800000000001</c:v>
                </c:pt>
                <c:pt idx="30">
                  <c:v>0.21024499999999999</c:v>
                </c:pt>
                <c:pt idx="31">
                  <c:v>0.22000600000000001</c:v>
                </c:pt>
                <c:pt idx="32">
                  <c:v>0.25964599999999999</c:v>
                </c:pt>
                <c:pt idx="33">
                  <c:v>0.24041999999999999</c:v>
                </c:pt>
                <c:pt idx="34">
                  <c:v>0.24060300000000001</c:v>
                </c:pt>
                <c:pt idx="35">
                  <c:v>0.27455000000000002</c:v>
                </c:pt>
                <c:pt idx="36">
                  <c:v>0.28383900000000001</c:v>
                </c:pt>
                <c:pt idx="37">
                  <c:v>0.39510099999999998</c:v>
                </c:pt>
                <c:pt idx="38">
                  <c:v>0.32686500000000002</c:v>
                </c:pt>
                <c:pt idx="39">
                  <c:v>0.33985799999999999</c:v>
                </c:pt>
                <c:pt idx="40">
                  <c:v>0.25623600000000002</c:v>
                </c:pt>
                <c:pt idx="41">
                  <c:v>0.32578499999999999</c:v>
                </c:pt>
                <c:pt idx="42">
                  <c:v>0.34659200000000001</c:v>
                </c:pt>
                <c:pt idx="43">
                  <c:v>0.35050100000000001</c:v>
                </c:pt>
                <c:pt idx="44">
                  <c:v>0.35562199999999999</c:v>
                </c:pt>
                <c:pt idx="45">
                  <c:v>0.36518899999999999</c:v>
                </c:pt>
                <c:pt idx="46">
                  <c:v>0.37003999999999998</c:v>
                </c:pt>
                <c:pt idx="47">
                  <c:v>0.34794799999999998</c:v>
                </c:pt>
                <c:pt idx="48">
                  <c:v>0.363097</c:v>
                </c:pt>
                <c:pt idx="49">
                  <c:v>0.40570400000000001</c:v>
                </c:pt>
                <c:pt idx="50">
                  <c:v>0.38772499999999999</c:v>
                </c:pt>
                <c:pt idx="51">
                  <c:v>0.40401599999999999</c:v>
                </c:pt>
                <c:pt idx="52">
                  <c:v>0.38463199999999997</c:v>
                </c:pt>
                <c:pt idx="53">
                  <c:v>0.41275099999999998</c:v>
                </c:pt>
                <c:pt idx="54">
                  <c:v>0.36256500000000003</c:v>
                </c:pt>
                <c:pt idx="55">
                  <c:v>0.38126700000000002</c:v>
                </c:pt>
                <c:pt idx="56">
                  <c:v>0.394117</c:v>
                </c:pt>
                <c:pt idx="57">
                  <c:v>0.37388300000000002</c:v>
                </c:pt>
                <c:pt idx="58">
                  <c:v>0.34426800000000002</c:v>
                </c:pt>
                <c:pt idx="59">
                  <c:v>0.38073299999999999</c:v>
                </c:pt>
                <c:pt idx="60">
                  <c:v>0.386272</c:v>
                </c:pt>
                <c:pt idx="61">
                  <c:v>0.37309399999999998</c:v>
                </c:pt>
                <c:pt idx="62">
                  <c:v>0.345557</c:v>
                </c:pt>
                <c:pt idx="63">
                  <c:v>0.41401700000000002</c:v>
                </c:pt>
                <c:pt idx="64">
                  <c:v>0.380998</c:v>
                </c:pt>
                <c:pt idx="65">
                  <c:v>0.34335199999999999</c:v>
                </c:pt>
                <c:pt idx="66">
                  <c:v>0.35698200000000002</c:v>
                </c:pt>
                <c:pt idx="67">
                  <c:v>0.32451600000000003</c:v>
                </c:pt>
                <c:pt idx="68">
                  <c:v>0.25495299999999999</c:v>
                </c:pt>
                <c:pt idx="69">
                  <c:v>0.30402699999999999</c:v>
                </c:pt>
                <c:pt idx="70">
                  <c:v>0.32881199999999999</c:v>
                </c:pt>
                <c:pt idx="71">
                  <c:v>0.320826</c:v>
                </c:pt>
                <c:pt idx="72">
                  <c:v>0.28448400000000001</c:v>
                </c:pt>
                <c:pt idx="73">
                  <c:v>0.32056499999999999</c:v>
                </c:pt>
                <c:pt idx="74">
                  <c:v>0.27657300000000001</c:v>
                </c:pt>
                <c:pt idx="75">
                  <c:v>0.25190299999999999</c:v>
                </c:pt>
                <c:pt idx="76">
                  <c:v>0.30457000000000001</c:v>
                </c:pt>
                <c:pt idx="77">
                  <c:v>0.26983600000000002</c:v>
                </c:pt>
                <c:pt idx="78">
                  <c:v>0.2969</c:v>
                </c:pt>
                <c:pt idx="79">
                  <c:v>0.26912799999999998</c:v>
                </c:pt>
                <c:pt idx="80">
                  <c:v>0.27365299999999998</c:v>
                </c:pt>
                <c:pt idx="81">
                  <c:v>0.26086999999999999</c:v>
                </c:pt>
                <c:pt idx="82">
                  <c:v>0.22533500000000001</c:v>
                </c:pt>
                <c:pt idx="83">
                  <c:v>0.28571400000000002</c:v>
                </c:pt>
                <c:pt idx="84">
                  <c:v>0.26683800000000002</c:v>
                </c:pt>
                <c:pt idx="85">
                  <c:v>0.25934299999999999</c:v>
                </c:pt>
                <c:pt idx="86">
                  <c:v>0.24029900000000001</c:v>
                </c:pt>
                <c:pt idx="87">
                  <c:v>0.26183200000000001</c:v>
                </c:pt>
                <c:pt idx="88">
                  <c:v>0.21146300000000001</c:v>
                </c:pt>
                <c:pt idx="89">
                  <c:v>0.19500200000000001</c:v>
                </c:pt>
                <c:pt idx="90">
                  <c:v>0.28532600000000002</c:v>
                </c:pt>
                <c:pt idx="91">
                  <c:v>0.246554</c:v>
                </c:pt>
                <c:pt idx="92">
                  <c:v>0.274565</c:v>
                </c:pt>
                <c:pt idx="93">
                  <c:v>0.26447799999999999</c:v>
                </c:pt>
                <c:pt idx="94">
                  <c:v>0.307834</c:v>
                </c:pt>
                <c:pt idx="95">
                  <c:v>0.19877700000000001</c:v>
                </c:pt>
                <c:pt idx="96">
                  <c:v>0.214893</c:v>
                </c:pt>
                <c:pt idx="97">
                  <c:v>0.27911799999999998</c:v>
                </c:pt>
                <c:pt idx="98">
                  <c:v>0.31381999999999999</c:v>
                </c:pt>
                <c:pt idx="99">
                  <c:v>0.28066600000000003</c:v>
                </c:pt>
                <c:pt idx="100">
                  <c:v>0.26851700000000001</c:v>
                </c:pt>
                <c:pt idx="101">
                  <c:v>0.30758600000000003</c:v>
                </c:pt>
                <c:pt idx="102">
                  <c:v>0.30160100000000001</c:v>
                </c:pt>
                <c:pt idx="103">
                  <c:v>0.234183</c:v>
                </c:pt>
                <c:pt idx="104">
                  <c:v>0.30593999999999999</c:v>
                </c:pt>
                <c:pt idx="105">
                  <c:v>0.31099199999999999</c:v>
                </c:pt>
                <c:pt idx="106">
                  <c:v>0.29497499999999999</c:v>
                </c:pt>
                <c:pt idx="107">
                  <c:v>0.31598900000000002</c:v>
                </c:pt>
                <c:pt idx="108">
                  <c:v>0.28353899999999999</c:v>
                </c:pt>
                <c:pt idx="109">
                  <c:v>0.35583100000000001</c:v>
                </c:pt>
                <c:pt idx="110">
                  <c:v>0.27329399999999998</c:v>
                </c:pt>
                <c:pt idx="111">
                  <c:v>0.32445800000000002</c:v>
                </c:pt>
                <c:pt idx="112">
                  <c:v>0.38298700000000002</c:v>
                </c:pt>
                <c:pt idx="113">
                  <c:v>0.41448200000000002</c:v>
                </c:pt>
                <c:pt idx="114">
                  <c:v>0.35048600000000002</c:v>
                </c:pt>
                <c:pt idx="115">
                  <c:v>0.35350999999999999</c:v>
                </c:pt>
                <c:pt idx="116">
                  <c:v>0.34085100000000002</c:v>
                </c:pt>
                <c:pt idx="117">
                  <c:v>0.39354</c:v>
                </c:pt>
                <c:pt idx="118">
                  <c:v>0.497334</c:v>
                </c:pt>
                <c:pt idx="119">
                  <c:v>0.48694900000000002</c:v>
                </c:pt>
                <c:pt idx="120">
                  <c:v>0.498085</c:v>
                </c:pt>
                <c:pt idx="121">
                  <c:v>0.47298800000000002</c:v>
                </c:pt>
                <c:pt idx="122">
                  <c:v>0.35346899999999998</c:v>
                </c:pt>
                <c:pt idx="123">
                  <c:v>0.40352500000000002</c:v>
                </c:pt>
                <c:pt idx="124">
                  <c:v>0.347389</c:v>
                </c:pt>
                <c:pt idx="125">
                  <c:v>0.40670000000000001</c:v>
                </c:pt>
                <c:pt idx="126">
                  <c:v>0.47155200000000003</c:v>
                </c:pt>
                <c:pt idx="127">
                  <c:v>0.39849499999999999</c:v>
                </c:pt>
                <c:pt idx="128">
                  <c:v>0.35358099999999998</c:v>
                </c:pt>
                <c:pt idx="129">
                  <c:v>0.43809399999999998</c:v>
                </c:pt>
                <c:pt idx="130">
                  <c:v>0.346636</c:v>
                </c:pt>
                <c:pt idx="131">
                  <c:v>0.27016800000000002</c:v>
                </c:pt>
                <c:pt idx="132">
                  <c:v>0.30077799999999999</c:v>
                </c:pt>
                <c:pt idx="133">
                  <c:v>0.33745599999999998</c:v>
                </c:pt>
                <c:pt idx="134">
                  <c:v>0.27314300000000002</c:v>
                </c:pt>
                <c:pt idx="135">
                  <c:v>0.30451800000000001</c:v>
                </c:pt>
                <c:pt idx="136">
                  <c:v>0.30821799999999999</c:v>
                </c:pt>
                <c:pt idx="137">
                  <c:v>0.29814600000000002</c:v>
                </c:pt>
                <c:pt idx="138">
                  <c:v>0.26122899999999999</c:v>
                </c:pt>
                <c:pt idx="139">
                  <c:v>0.32773099999999999</c:v>
                </c:pt>
                <c:pt idx="140">
                  <c:v>0.30389100000000002</c:v>
                </c:pt>
                <c:pt idx="141">
                  <c:v>0.31927100000000003</c:v>
                </c:pt>
                <c:pt idx="142">
                  <c:v>0.28070600000000001</c:v>
                </c:pt>
                <c:pt idx="143">
                  <c:v>0.29634100000000002</c:v>
                </c:pt>
                <c:pt idx="144">
                  <c:v>0.26631899999999997</c:v>
                </c:pt>
                <c:pt idx="145">
                  <c:v>0.232372</c:v>
                </c:pt>
                <c:pt idx="146">
                  <c:v>0.30657499999999999</c:v>
                </c:pt>
                <c:pt idx="147">
                  <c:v>0.29373100000000002</c:v>
                </c:pt>
                <c:pt idx="148">
                  <c:v>0.303456</c:v>
                </c:pt>
                <c:pt idx="149">
                  <c:v>0.26622899999999999</c:v>
                </c:pt>
                <c:pt idx="150">
                  <c:v>0.27832200000000001</c:v>
                </c:pt>
                <c:pt idx="151">
                  <c:v>0.29839300000000002</c:v>
                </c:pt>
                <c:pt idx="152">
                  <c:v>0.24653800000000001</c:v>
                </c:pt>
                <c:pt idx="153">
                  <c:v>0.29855599999999999</c:v>
                </c:pt>
                <c:pt idx="154">
                  <c:v>0.30907200000000001</c:v>
                </c:pt>
                <c:pt idx="155">
                  <c:v>0.28468199999999999</c:v>
                </c:pt>
                <c:pt idx="156">
                  <c:v>0.278366</c:v>
                </c:pt>
                <c:pt idx="157">
                  <c:v>0.305537</c:v>
                </c:pt>
                <c:pt idx="158">
                  <c:v>0.25877</c:v>
                </c:pt>
                <c:pt idx="159">
                  <c:v>0.26606800000000003</c:v>
                </c:pt>
                <c:pt idx="160">
                  <c:v>0.331619</c:v>
                </c:pt>
                <c:pt idx="161">
                  <c:v>0.31997700000000001</c:v>
                </c:pt>
                <c:pt idx="162">
                  <c:v>0.30996600000000002</c:v>
                </c:pt>
                <c:pt idx="163">
                  <c:v>0.28551799999999999</c:v>
                </c:pt>
                <c:pt idx="164">
                  <c:v>0.29204999999999998</c:v>
                </c:pt>
                <c:pt idx="165">
                  <c:v>0.27198600000000001</c:v>
                </c:pt>
                <c:pt idx="166">
                  <c:v>0.26746599999999998</c:v>
                </c:pt>
                <c:pt idx="167">
                  <c:v>0.36102099999999998</c:v>
                </c:pt>
                <c:pt idx="168">
                  <c:v>0.33091799999999999</c:v>
                </c:pt>
                <c:pt idx="169">
                  <c:v>0.333312</c:v>
                </c:pt>
                <c:pt idx="170">
                  <c:v>0.29981799999999997</c:v>
                </c:pt>
                <c:pt idx="171">
                  <c:v>0.34731400000000001</c:v>
                </c:pt>
                <c:pt idx="172">
                  <c:v>0.36886400000000003</c:v>
                </c:pt>
                <c:pt idx="173">
                  <c:v>0.299342</c:v>
                </c:pt>
                <c:pt idx="174">
                  <c:v>0.37763799999999997</c:v>
                </c:pt>
                <c:pt idx="175">
                  <c:v>0.35917100000000002</c:v>
                </c:pt>
                <c:pt idx="176">
                  <c:v>0.35686400000000001</c:v>
                </c:pt>
                <c:pt idx="177">
                  <c:v>0.33664699999999997</c:v>
                </c:pt>
                <c:pt idx="178">
                  <c:v>0.32770700000000003</c:v>
                </c:pt>
                <c:pt idx="179">
                  <c:v>0.32169900000000001</c:v>
                </c:pt>
                <c:pt idx="180">
                  <c:v>0.311311</c:v>
                </c:pt>
                <c:pt idx="181">
                  <c:v>0.364784</c:v>
                </c:pt>
                <c:pt idx="182">
                  <c:v>0.361539</c:v>
                </c:pt>
                <c:pt idx="183">
                  <c:v>0.36366500000000002</c:v>
                </c:pt>
                <c:pt idx="184">
                  <c:v>0.29721799999999998</c:v>
                </c:pt>
                <c:pt idx="185">
                  <c:v>0.41251100000000002</c:v>
                </c:pt>
                <c:pt idx="186">
                  <c:v>0.30810199999999999</c:v>
                </c:pt>
                <c:pt idx="187">
                  <c:v>0.293346</c:v>
                </c:pt>
                <c:pt idx="188">
                  <c:v>0.35772399999999999</c:v>
                </c:pt>
                <c:pt idx="189">
                  <c:v>0.35050599999999998</c:v>
                </c:pt>
                <c:pt idx="190">
                  <c:v>0.30959500000000001</c:v>
                </c:pt>
                <c:pt idx="191">
                  <c:v>0.37325199999999997</c:v>
                </c:pt>
                <c:pt idx="192">
                  <c:v>0.33255400000000002</c:v>
                </c:pt>
                <c:pt idx="193">
                  <c:v>0.29294799999999999</c:v>
                </c:pt>
                <c:pt idx="194">
                  <c:v>0.273233</c:v>
                </c:pt>
                <c:pt idx="195">
                  <c:v>0.35127000000000003</c:v>
                </c:pt>
                <c:pt idx="196">
                  <c:v>0.33833999999999997</c:v>
                </c:pt>
                <c:pt idx="197">
                  <c:v>0.321436</c:v>
                </c:pt>
                <c:pt idx="198">
                  <c:v>0.277443</c:v>
                </c:pt>
                <c:pt idx="199">
                  <c:v>0.273978</c:v>
                </c:pt>
                <c:pt idx="200">
                  <c:v>0.242618</c:v>
                </c:pt>
                <c:pt idx="201">
                  <c:v>0.22417500000000001</c:v>
                </c:pt>
                <c:pt idx="202">
                  <c:v>0.30173299999999997</c:v>
                </c:pt>
                <c:pt idx="203">
                  <c:v>0.29873</c:v>
                </c:pt>
                <c:pt idx="204">
                  <c:v>0.24387400000000001</c:v>
                </c:pt>
                <c:pt idx="205">
                  <c:v>0.25454700000000002</c:v>
                </c:pt>
                <c:pt idx="206">
                  <c:v>0.27174799999999999</c:v>
                </c:pt>
                <c:pt idx="207">
                  <c:v>0.11867900000000001</c:v>
                </c:pt>
                <c:pt idx="208">
                  <c:v>0.20342199999999999</c:v>
                </c:pt>
                <c:pt idx="209">
                  <c:v>0.25819599999999998</c:v>
                </c:pt>
                <c:pt idx="210">
                  <c:v>0.24670700000000001</c:v>
                </c:pt>
                <c:pt idx="211">
                  <c:v>0.23367399999999999</c:v>
                </c:pt>
                <c:pt idx="212">
                  <c:v>0.25212099999999998</c:v>
                </c:pt>
                <c:pt idx="213">
                  <c:v>0.22047</c:v>
                </c:pt>
                <c:pt idx="214">
                  <c:v>0.18477399999999999</c:v>
                </c:pt>
                <c:pt idx="215">
                  <c:v>9.4704999999999998E-2</c:v>
                </c:pt>
                <c:pt idx="216">
                  <c:v>0.17589399999999999</c:v>
                </c:pt>
                <c:pt idx="217">
                  <c:v>0.24787500000000001</c:v>
                </c:pt>
                <c:pt idx="218">
                  <c:v>0.235731</c:v>
                </c:pt>
                <c:pt idx="219">
                  <c:v>0.200766</c:v>
                </c:pt>
                <c:pt idx="220">
                  <c:v>0.172707</c:v>
                </c:pt>
                <c:pt idx="221">
                  <c:v>0.12716</c:v>
                </c:pt>
                <c:pt idx="222">
                  <c:v>0.119215</c:v>
                </c:pt>
                <c:pt idx="223">
                  <c:v>0.183199</c:v>
                </c:pt>
                <c:pt idx="224">
                  <c:v>0.14665500000000001</c:v>
                </c:pt>
                <c:pt idx="225">
                  <c:v>0.15901100000000001</c:v>
                </c:pt>
                <c:pt idx="226">
                  <c:v>0.14485300000000001</c:v>
                </c:pt>
                <c:pt idx="227">
                  <c:v>0.13134699999999999</c:v>
                </c:pt>
                <c:pt idx="228">
                  <c:v>0.10481600000000001</c:v>
                </c:pt>
                <c:pt idx="229">
                  <c:v>0.11536</c:v>
                </c:pt>
                <c:pt idx="230">
                  <c:v>0.150786</c:v>
                </c:pt>
                <c:pt idx="231">
                  <c:v>0.13378399999999999</c:v>
                </c:pt>
                <c:pt idx="232">
                  <c:v>0.13419400000000001</c:v>
                </c:pt>
                <c:pt idx="233">
                  <c:v>0.121597</c:v>
                </c:pt>
                <c:pt idx="234">
                  <c:v>0.114303</c:v>
                </c:pt>
                <c:pt idx="235">
                  <c:v>0.12665100000000001</c:v>
                </c:pt>
                <c:pt idx="236">
                  <c:v>9.5311000000000007E-2</c:v>
                </c:pt>
                <c:pt idx="237">
                  <c:v>0.14390900000000001</c:v>
                </c:pt>
                <c:pt idx="238">
                  <c:v>0.107629</c:v>
                </c:pt>
                <c:pt idx="239">
                  <c:v>0.107251</c:v>
                </c:pt>
                <c:pt idx="240">
                  <c:v>9.0413999999999994E-2</c:v>
                </c:pt>
                <c:pt idx="241">
                  <c:v>0.114758</c:v>
                </c:pt>
                <c:pt idx="242">
                  <c:v>8.1452999999999998E-2</c:v>
                </c:pt>
                <c:pt idx="243">
                  <c:v>6.9403000000000006E-2</c:v>
                </c:pt>
                <c:pt idx="244">
                  <c:v>0.107784</c:v>
                </c:pt>
                <c:pt idx="245">
                  <c:v>8.2747000000000001E-2</c:v>
                </c:pt>
                <c:pt idx="246">
                  <c:v>7.8864000000000004E-2</c:v>
                </c:pt>
                <c:pt idx="247">
                  <c:v>7.4712000000000001E-2</c:v>
                </c:pt>
                <c:pt idx="248">
                  <c:v>6.1889E-2</c:v>
                </c:pt>
                <c:pt idx="249">
                  <c:v>5.9542999999999999E-2</c:v>
                </c:pt>
                <c:pt idx="250">
                  <c:v>4.811E-2</c:v>
                </c:pt>
                <c:pt idx="251">
                  <c:v>8.6180000000000007E-2</c:v>
                </c:pt>
                <c:pt idx="252">
                  <c:v>5.7182999999999998E-2</c:v>
                </c:pt>
                <c:pt idx="253">
                  <c:v>6.4250000000000002E-2</c:v>
                </c:pt>
                <c:pt idx="254">
                  <c:v>5.2086E-2</c:v>
                </c:pt>
                <c:pt idx="255">
                  <c:v>4.9841000000000003E-2</c:v>
                </c:pt>
                <c:pt idx="256">
                  <c:v>3.2877000000000003E-2</c:v>
                </c:pt>
                <c:pt idx="257">
                  <c:v>2.7629999999999998E-2</c:v>
                </c:pt>
                <c:pt idx="258">
                  <c:v>4.8283E-2</c:v>
                </c:pt>
                <c:pt idx="259">
                  <c:v>2.9069999999999999E-2</c:v>
                </c:pt>
                <c:pt idx="260">
                  <c:v>3.6570999999999999E-2</c:v>
                </c:pt>
                <c:pt idx="261">
                  <c:v>2.4740999999999999E-2</c:v>
                </c:pt>
                <c:pt idx="262">
                  <c:v>2.7473000000000001E-2</c:v>
                </c:pt>
                <c:pt idx="263">
                  <c:v>2.9412000000000001E-2</c:v>
                </c:pt>
                <c:pt idx="264">
                  <c:v>1.7503000000000001E-2</c:v>
                </c:pt>
                <c:pt idx="265">
                  <c:v>2.0483999999999999E-2</c:v>
                </c:pt>
                <c:pt idx="266">
                  <c:v>2.7394999999999999E-2</c:v>
                </c:pt>
                <c:pt idx="267">
                  <c:v>2.1957999999999998E-2</c:v>
                </c:pt>
                <c:pt idx="268">
                  <c:v>1.7867000000000001E-2</c:v>
                </c:pt>
                <c:pt idx="269">
                  <c:v>2.3203999999999999E-2</c:v>
                </c:pt>
                <c:pt idx="270">
                  <c:v>1.2917E-2</c:v>
                </c:pt>
                <c:pt idx="271">
                  <c:v>1.5256E-2</c:v>
                </c:pt>
                <c:pt idx="272">
                  <c:v>1.8731000000000001E-2</c:v>
                </c:pt>
                <c:pt idx="273">
                  <c:v>1.3361E-2</c:v>
                </c:pt>
                <c:pt idx="274">
                  <c:v>1.2718999999999999E-2</c:v>
                </c:pt>
                <c:pt idx="275">
                  <c:v>1.0161999999999999E-2</c:v>
                </c:pt>
                <c:pt idx="276">
                  <c:v>1.3643000000000001E-2</c:v>
                </c:pt>
                <c:pt idx="277">
                  <c:v>9.0580000000000001E-3</c:v>
                </c:pt>
                <c:pt idx="278">
                  <c:v>6.0660000000000002E-3</c:v>
                </c:pt>
                <c:pt idx="279">
                  <c:v>1.1965E-2</c:v>
                </c:pt>
                <c:pt idx="280">
                  <c:v>8.8039999999999993E-3</c:v>
                </c:pt>
                <c:pt idx="281">
                  <c:v>7.7739999999999997E-3</c:v>
                </c:pt>
                <c:pt idx="282">
                  <c:v>7.424E-3</c:v>
                </c:pt>
                <c:pt idx="283">
                  <c:v>6.4910000000000002E-3</c:v>
                </c:pt>
                <c:pt idx="284">
                  <c:v>6.7990000000000004E-3</c:v>
                </c:pt>
                <c:pt idx="285">
                  <c:v>6.8199999999999997E-3</c:v>
                </c:pt>
                <c:pt idx="286">
                  <c:v>6.7120000000000001E-3</c:v>
                </c:pt>
                <c:pt idx="287">
                  <c:v>7.6299999999999996E-3</c:v>
                </c:pt>
                <c:pt idx="288">
                  <c:v>4.7910000000000001E-3</c:v>
                </c:pt>
                <c:pt idx="289">
                  <c:v>6.5849999999999997E-3</c:v>
                </c:pt>
                <c:pt idx="290">
                  <c:v>7.1970000000000003E-3</c:v>
                </c:pt>
                <c:pt idx="291">
                  <c:v>7.0670000000000004E-3</c:v>
                </c:pt>
                <c:pt idx="292">
                  <c:v>4.0969999999999999E-3</c:v>
                </c:pt>
                <c:pt idx="293">
                  <c:v>6.3819999999999997E-3</c:v>
                </c:pt>
                <c:pt idx="294">
                  <c:v>6.8770000000000003E-3</c:v>
                </c:pt>
                <c:pt idx="295">
                  <c:v>3.6459999999999999E-3</c:v>
                </c:pt>
                <c:pt idx="296">
                  <c:v>7.2740000000000001E-3</c:v>
                </c:pt>
                <c:pt idx="297">
                  <c:v>4.28E-3</c:v>
                </c:pt>
                <c:pt idx="298">
                  <c:v>7.0369999999999999E-3</c:v>
                </c:pt>
                <c:pt idx="299">
                  <c:v>4.9150000000000001E-3</c:v>
                </c:pt>
                <c:pt idx="300">
                  <c:v>6.6759999999999996E-3</c:v>
                </c:pt>
                <c:pt idx="301">
                  <c:v>4.594E-3</c:v>
                </c:pt>
                <c:pt idx="302">
                  <c:v>7.9030000000000003E-3</c:v>
                </c:pt>
                <c:pt idx="303">
                  <c:v>6.4970000000000002E-3</c:v>
                </c:pt>
                <c:pt idx="304">
                  <c:v>7.3769999999999999E-3</c:v>
                </c:pt>
                <c:pt idx="305">
                  <c:v>6.6870000000000002E-3</c:v>
                </c:pt>
                <c:pt idx="306">
                  <c:v>2.0868000000000001E-2</c:v>
                </c:pt>
                <c:pt idx="307">
                  <c:v>1.7724E-2</c:v>
                </c:pt>
                <c:pt idx="308">
                  <c:v>1.4590000000000001E-2</c:v>
                </c:pt>
                <c:pt idx="309">
                  <c:v>1.0647E-2</c:v>
                </c:pt>
                <c:pt idx="310">
                  <c:v>1.5239000000000001E-2</c:v>
                </c:pt>
                <c:pt idx="311">
                  <c:v>1.4024999999999999E-2</c:v>
                </c:pt>
                <c:pt idx="312">
                  <c:v>1.5013E-2</c:v>
                </c:pt>
                <c:pt idx="313">
                  <c:v>1.2973E-2</c:v>
                </c:pt>
                <c:pt idx="314">
                  <c:v>2.0730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46-40E0-8E18-2F75017361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  <c:major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455437769925402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  <c:pt idx="261">
                  <c:v>44337</c:v>
                </c:pt>
                <c:pt idx="262">
                  <c:v>44338</c:v>
                </c:pt>
                <c:pt idx="263">
                  <c:v>44339</c:v>
                </c:pt>
                <c:pt idx="264">
                  <c:v>44340</c:v>
                </c:pt>
                <c:pt idx="265">
                  <c:v>44341</c:v>
                </c:pt>
                <c:pt idx="266">
                  <c:v>44342</c:v>
                </c:pt>
                <c:pt idx="267">
                  <c:v>44343</c:v>
                </c:pt>
                <c:pt idx="268">
                  <c:v>44344</c:v>
                </c:pt>
                <c:pt idx="269">
                  <c:v>44345</c:v>
                </c:pt>
                <c:pt idx="270">
                  <c:v>44346</c:v>
                </c:pt>
                <c:pt idx="271">
                  <c:v>44347</c:v>
                </c:pt>
                <c:pt idx="272">
                  <c:v>44348</c:v>
                </c:pt>
                <c:pt idx="273">
                  <c:v>44349</c:v>
                </c:pt>
                <c:pt idx="274">
                  <c:v>44350</c:v>
                </c:pt>
                <c:pt idx="275">
                  <c:v>44351</c:v>
                </c:pt>
                <c:pt idx="276">
                  <c:v>44352</c:v>
                </c:pt>
                <c:pt idx="277">
                  <c:v>44353</c:v>
                </c:pt>
                <c:pt idx="278">
                  <c:v>44354</c:v>
                </c:pt>
                <c:pt idx="279">
                  <c:v>44355</c:v>
                </c:pt>
                <c:pt idx="280">
                  <c:v>44356</c:v>
                </c:pt>
                <c:pt idx="281">
                  <c:v>44357</c:v>
                </c:pt>
                <c:pt idx="282">
                  <c:v>44358</c:v>
                </c:pt>
                <c:pt idx="283">
                  <c:v>44359</c:v>
                </c:pt>
                <c:pt idx="284">
                  <c:v>44360</c:v>
                </c:pt>
                <c:pt idx="285">
                  <c:v>44361</c:v>
                </c:pt>
                <c:pt idx="286">
                  <c:v>44362</c:v>
                </c:pt>
                <c:pt idx="287">
                  <c:v>44363</c:v>
                </c:pt>
                <c:pt idx="288">
                  <c:v>44364</c:v>
                </c:pt>
                <c:pt idx="289">
                  <c:v>44365</c:v>
                </c:pt>
                <c:pt idx="290">
                  <c:v>44366</c:v>
                </c:pt>
                <c:pt idx="291">
                  <c:v>44367</c:v>
                </c:pt>
                <c:pt idx="292">
                  <c:v>44368</c:v>
                </c:pt>
                <c:pt idx="293">
                  <c:v>44369</c:v>
                </c:pt>
                <c:pt idx="294">
                  <c:v>44370</c:v>
                </c:pt>
                <c:pt idx="295">
                  <c:v>44371</c:v>
                </c:pt>
                <c:pt idx="296">
                  <c:v>44372</c:v>
                </c:pt>
                <c:pt idx="297">
                  <c:v>44373</c:v>
                </c:pt>
                <c:pt idx="298">
                  <c:v>44374</c:v>
                </c:pt>
                <c:pt idx="299">
                  <c:v>44375</c:v>
                </c:pt>
                <c:pt idx="300">
                  <c:v>44376</c:v>
                </c:pt>
                <c:pt idx="301">
                  <c:v>44377</c:v>
                </c:pt>
                <c:pt idx="302">
                  <c:v>44378</c:v>
                </c:pt>
                <c:pt idx="303">
                  <c:v>44379</c:v>
                </c:pt>
                <c:pt idx="304">
                  <c:v>44380</c:v>
                </c:pt>
                <c:pt idx="305">
                  <c:v>44381</c:v>
                </c:pt>
                <c:pt idx="306">
                  <c:v>44382</c:v>
                </c:pt>
                <c:pt idx="307">
                  <c:v>44383</c:v>
                </c:pt>
                <c:pt idx="308">
                  <c:v>44384</c:v>
                </c:pt>
                <c:pt idx="309">
                  <c:v>44385</c:v>
                </c:pt>
                <c:pt idx="310">
                  <c:v>44386</c:v>
                </c:pt>
                <c:pt idx="311">
                  <c:v>44387</c:v>
                </c:pt>
                <c:pt idx="312">
                  <c:v>44388</c:v>
                </c:pt>
                <c:pt idx="313">
                  <c:v>44389</c:v>
                </c:pt>
                <c:pt idx="314">
                  <c:v>44390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5.4864000000000003E-2</c:v>
                </c:pt>
                <c:pt idx="1">
                  <c:v>6.2702999999999995E-2</c:v>
                </c:pt>
                <c:pt idx="2">
                  <c:v>6.7790000000000003E-2</c:v>
                </c:pt>
                <c:pt idx="3">
                  <c:v>6.4645999999999995E-2</c:v>
                </c:pt>
                <c:pt idx="4">
                  <c:v>8.0898999999999999E-2</c:v>
                </c:pt>
                <c:pt idx="5">
                  <c:v>5.0344E-2</c:v>
                </c:pt>
                <c:pt idx="6">
                  <c:v>6.8182000000000006E-2</c:v>
                </c:pt>
                <c:pt idx="7">
                  <c:v>8.0360000000000001E-2</c:v>
                </c:pt>
                <c:pt idx="8">
                  <c:v>8.4709999999999994E-2</c:v>
                </c:pt>
                <c:pt idx="9">
                  <c:v>7.4845999999999996E-2</c:v>
                </c:pt>
                <c:pt idx="10">
                  <c:v>0.10470699999999999</c:v>
                </c:pt>
                <c:pt idx="11">
                  <c:v>0.10618900000000001</c:v>
                </c:pt>
                <c:pt idx="12">
                  <c:v>5.8531E-2</c:v>
                </c:pt>
                <c:pt idx="13">
                  <c:v>8.5067000000000004E-2</c:v>
                </c:pt>
                <c:pt idx="14">
                  <c:v>0.10494199999999999</c:v>
                </c:pt>
                <c:pt idx="15">
                  <c:v>0.123706</c:v>
                </c:pt>
                <c:pt idx="16">
                  <c:v>9.2201000000000005E-2</c:v>
                </c:pt>
                <c:pt idx="17">
                  <c:v>0.111486</c:v>
                </c:pt>
                <c:pt idx="18">
                  <c:v>8.6429000000000006E-2</c:v>
                </c:pt>
                <c:pt idx="19">
                  <c:v>8.3262000000000003E-2</c:v>
                </c:pt>
                <c:pt idx="20">
                  <c:v>9.8361000000000004E-2</c:v>
                </c:pt>
                <c:pt idx="21">
                  <c:v>9.8358000000000001E-2</c:v>
                </c:pt>
                <c:pt idx="22">
                  <c:v>0.120313</c:v>
                </c:pt>
                <c:pt idx="23">
                  <c:v>0.115138</c:v>
                </c:pt>
                <c:pt idx="24">
                  <c:v>0.125611</c:v>
                </c:pt>
                <c:pt idx="25">
                  <c:v>0.119769</c:v>
                </c:pt>
                <c:pt idx="26">
                  <c:v>0.100371</c:v>
                </c:pt>
                <c:pt idx="27">
                  <c:v>0.10766299999999999</c:v>
                </c:pt>
                <c:pt idx="28">
                  <c:v>0.12850300000000001</c:v>
                </c:pt>
                <c:pt idx="29">
                  <c:v>0.14085700000000001</c:v>
                </c:pt>
                <c:pt idx="30">
                  <c:v>0.16159399999999999</c:v>
                </c:pt>
                <c:pt idx="31">
                  <c:v>0.163105</c:v>
                </c:pt>
                <c:pt idx="32">
                  <c:v>0.23245099999999999</c:v>
                </c:pt>
                <c:pt idx="33">
                  <c:v>0.18129899999999999</c:v>
                </c:pt>
                <c:pt idx="34">
                  <c:v>0.174929</c:v>
                </c:pt>
                <c:pt idx="35">
                  <c:v>0.20616200000000001</c:v>
                </c:pt>
                <c:pt idx="36">
                  <c:v>0.19927300000000001</c:v>
                </c:pt>
                <c:pt idx="37">
                  <c:v>0.27739900000000001</c:v>
                </c:pt>
                <c:pt idx="38">
                  <c:v>0.238288</c:v>
                </c:pt>
                <c:pt idx="39">
                  <c:v>0.23010700000000001</c:v>
                </c:pt>
                <c:pt idx="40">
                  <c:v>0.20333899999999999</c:v>
                </c:pt>
                <c:pt idx="41">
                  <c:v>0.22692300000000001</c:v>
                </c:pt>
                <c:pt idx="42">
                  <c:v>0.23469499999999999</c:v>
                </c:pt>
                <c:pt idx="43">
                  <c:v>0.23569499999999999</c:v>
                </c:pt>
                <c:pt idx="44">
                  <c:v>0.25305699999999998</c:v>
                </c:pt>
                <c:pt idx="45">
                  <c:v>0.238868</c:v>
                </c:pt>
                <c:pt idx="46">
                  <c:v>0.24404899999999999</c:v>
                </c:pt>
                <c:pt idx="47">
                  <c:v>0.23419400000000001</c:v>
                </c:pt>
                <c:pt idx="48">
                  <c:v>0.239318</c:v>
                </c:pt>
                <c:pt idx="49">
                  <c:v>0.27583400000000002</c:v>
                </c:pt>
                <c:pt idx="50">
                  <c:v>0.25751499999999999</c:v>
                </c:pt>
                <c:pt idx="51">
                  <c:v>0.27613399999999999</c:v>
                </c:pt>
                <c:pt idx="52">
                  <c:v>0.254749</c:v>
                </c:pt>
                <c:pt idx="53">
                  <c:v>0.28010499999999999</c:v>
                </c:pt>
                <c:pt idx="54">
                  <c:v>0.25444899999999998</c:v>
                </c:pt>
                <c:pt idx="55">
                  <c:v>0.27215400000000001</c:v>
                </c:pt>
                <c:pt idx="56">
                  <c:v>0.25200800000000001</c:v>
                </c:pt>
                <c:pt idx="57">
                  <c:v>0.23905199999999999</c:v>
                </c:pt>
                <c:pt idx="58">
                  <c:v>0.241315</c:v>
                </c:pt>
                <c:pt idx="59">
                  <c:v>0.25505</c:v>
                </c:pt>
                <c:pt idx="60">
                  <c:v>0.27679599999999999</c:v>
                </c:pt>
                <c:pt idx="61">
                  <c:v>0.22759299999999999</c:v>
                </c:pt>
                <c:pt idx="62">
                  <c:v>0.225269</c:v>
                </c:pt>
                <c:pt idx="63">
                  <c:v>0.27493400000000001</c:v>
                </c:pt>
                <c:pt idx="64">
                  <c:v>0.243869</c:v>
                </c:pt>
                <c:pt idx="65">
                  <c:v>0.25275399999999998</c:v>
                </c:pt>
                <c:pt idx="66">
                  <c:v>0.26300099999999998</c:v>
                </c:pt>
                <c:pt idx="67">
                  <c:v>0.23383799999999999</c:v>
                </c:pt>
                <c:pt idx="68">
                  <c:v>0.18756400000000001</c:v>
                </c:pt>
                <c:pt idx="69">
                  <c:v>0.20233499999999999</c:v>
                </c:pt>
                <c:pt idx="70">
                  <c:v>0.205375</c:v>
                </c:pt>
                <c:pt idx="71">
                  <c:v>0.20902399999999999</c:v>
                </c:pt>
                <c:pt idx="72">
                  <c:v>0.20688500000000001</c:v>
                </c:pt>
                <c:pt idx="73">
                  <c:v>0.23757700000000001</c:v>
                </c:pt>
                <c:pt idx="74">
                  <c:v>0.22209699999999999</c:v>
                </c:pt>
                <c:pt idx="75">
                  <c:v>0.15831400000000001</c:v>
                </c:pt>
                <c:pt idx="76">
                  <c:v>0.221801</c:v>
                </c:pt>
                <c:pt idx="77">
                  <c:v>0.178872</c:v>
                </c:pt>
                <c:pt idx="78">
                  <c:v>0.21041499999999999</c:v>
                </c:pt>
                <c:pt idx="79">
                  <c:v>0.212121</c:v>
                </c:pt>
                <c:pt idx="80">
                  <c:v>0.202766</c:v>
                </c:pt>
                <c:pt idx="81">
                  <c:v>0.214561</c:v>
                </c:pt>
                <c:pt idx="82">
                  <c:v>0.13105700000000001</c:v>
                </c:pt>
                <c:pt idx="83">
                  <c:v>0.19695099999999999</c:v>
                </c:pt>
                <c:pt idx="84">
                  <c:v>0.18157599999999999</c:v>
                </c:pt>
                <c:pt idx="85">
                  <c:v>0.16642799999999999</c:v>
                </c:pt>
                <c:pt idx="86">
                  <c:v>0.18395600000000001</c:v>
                </c:pt>
                <c:pt idx="87">
                  <c:v>0.22329199999999999</c:v>
                </c:pt>
                <c:pt idx="88">
                  <c:v>0.199236</c:v>
                </c:pt>
                <c:pt idx="89">
                  <c:v>0.112215</c:v>
                </c:pt>
                <c:pt idx="90">
                  <c:v>0.19011</c:v>
                </c:pt>
                <c:pt idx="91">
                  <c:v>0.176375</c:v>
                </c:pt>
                <c:pt idx="92">
                  <c:v>0.196411</c:v>
                </c:pt>
                <c:pt idx="93">
                  <c:v>0.199597</c:v>
                </c:pt>
                <c:pt idx="94">
                  <c:v>0.26928000000000002</c:v>
                </c:pt>
                <c:pt idx="95">
                  <c:v>0.16334199999999999</c:v>
                </c:pt>
                <c:pt idx="96">
                  <c:v>0.12880800000000001</c:v>
                </c:pt>
                <c:pt idx="97">
                  <c:v>0.187698</c:v>
                </c:pt>
                <c:pt idx="98">
                  <c:v>0.197687</c:v>
                </c:pt>
                <c:pt idx="99">
                  <c:v>0.20405899999999999</c:v>
                </c:pt>
                <c:pt idx="100">
                  <c:v>0.186893</c:v>
                </c:pt>
                <c:pt idx="101">
                  <c:v>0.20903099999999999</c:v>
                </c:pt>
                <c:pt idx="102">
                  <c:v>0.217311</c:v>
                </c:pt>
                <c:pt idx="103">
                  <c:v>0.137961</c:v>
                </c:pt>
                <c:pt idx="104">
                  <c:v>0.195824</c:v>
                </c:pt>
                <c:pt idx="105">
                  <c:v>0.18206900000000001</c:v>
                </c:pt>
                <c:pt idx="106">
                  <c:v>0.17319000000000001</c:v>
                </c:pt>
                <c:pt idx="107">
                  <c:v>0.178452</c:v>
                </c:pt>
                <c:pt idx="108">
                  <c:v>0.176702</c:v>
                </c:pt>
                <c:pt idx="109">
                  <c:v>0.18606700000000001</c:v>
                </c:pt>
                <c:pt idx="110">
                  <c:v>0.144312</c:v>
                </c:pt>
                <c:pt idx="111">
                  <c:v>0.16853399999999999</c:v>
                </c:pt>
                <c:pt idx="112">
                  <c:v>0.18293699999999999</c:v>
                </c:pt>
                <c:pt idx="113">
                  <c:v>0.235511</c:v>
                </c:pt>
                <c:pt idx="114">
                  <c:v>0.216697</c:v>
                </c:pt>
                <c:pt idx="115">
                  <c:v>0.18576000000000001</c:v>
                </c:pt>
                <c:pt idx="116">
                  <c:v>0.19378100000000001</c:v>
                </c:pt>
                <c:pt idx="117">
                  <c:v>0.20141800000000001</c:v>
                </c:pt>
                <c:pt idx="118">
                  <c:v>0.26874100000000001</c:v>
                </c:pt>
                <c:pt idx="119">
                  <c:v>0.27015099999999997</c:v>
                </c:pt>
                <c:pt idx="120">
                  <c:v>0.300958</c:v>
                </c:pt>
                <c:pt idx="121">
                  <c:v>0.355047</c:v>
                </c:pt>
                <c:pt idx="122">
                  <c:v>0.20421900000000001</c:v>
                </c:pt>
                <c:pt idx="123">
                  <c:v>0.258571</c:v>
                </c:pt>
                <c:pt idx="124">
                  <c:v>0.19678499999999999</c:v>
                </c:pt>
                <c:pt idx="125">
                  <c:v>0.249084</c:v>
                </c:pt>
                <c:pt idx="126">
                  <c:v>0.28987800000000002</c:v>
                </c:pt>
                <c:pt idx="127">
                  <c:v>0.26141500000000001</c:v>
                </c:pt>
                <c:pt idx="128">
                  <c:v>0.225434</c:v>
                </c:pt>
                <c:pt idx="129">
                  <c:v>0.28231000000000001</c:v>
                </c:pt>
                <c:pt idx="130">
                  <c:v>0.23472499999999999</c:v>
                </c:pt>
                <c:pt idx="131">
                  <c:v>0.15639900000000001</c:v>
                </c:pt>
                <c:pt idx="132">
                  <c:v>0.205341</c:v>
                </c:pt>
                <c:pt idx="133">
                  <c:v>0.227852</c:v>
                </c:pt>
                <c:pt idx="134">
                  <c:v>0.17951</c:v>
                </c:pt>
                <c:pt idx="135">
                  <c:v>0.20888200000000001</c:v>
                </c:pt>
                <c:pt idx="136">
                  <c:v>0.24173500000000001</c:v>
                </c:pt>
                <c:pt idx="137">
                  <c:v>0.223549</c:v>
                </c:pt>
                <c:pt idx="138">
                  <c:v>0.16043499999999999</c:v>
                </c:pt>
                <c:pt idx="139">
                  <c:v>0.222106</c:v>
                </c:pt>
                <c:pt idx="140">
                  <c:v>0.204129</c:v>
                </c:pt>
                <c:pt idx="141">
                  <c:v>0.20014999999999999</c:v>
                </c:pt>
                <c:pt idx="142">
                  <c:v>0.19475600000000001</c:v>
                </c:pt>
                <c:pt idx="143">
                  <c:v>0.225802</c:v>
                </c:pt>
                <c:pt idx="144">
                  <c:v>0.20574799999999999</c:v>
                </c:pt>
                <c:pt idx="145">
                  <c:v>0.14930199999999999</c:v>
                </c:pt>
                <c:pt idx="146">
                  <c:v>0.22272800000000001</c:v>
                </c:pt>
                <c:pt idx="147">
                  <c:v>0.184723</c:v>
                </c:pt>
                <c:pt idx="148">
                  <c:v>0.21978600000000001</c:v>
                </c:pt>
                <c:pt idx="149">
                  <c:v>0.19181100000000001</c:v>
                </c:pt>
                <c:pt idx="150">
                  <c:v>0.20499600000000001</c:v>
                </c:pt>
                <c:pt idx="151">
                  <c:v>0.202624</c:v>
                </c:pt>
                <c:pt idx="152">
                  <c:v>0.148979</c:v>
                </c:pt>
                <c:pt idx="153">
                  <c:v>0.199486</c:v>
                </c:pt>
                <c:pt idx="154">
                  <c:v>0.21612000000000001</c:v>
                </c:pt>
                <c:pt idx="155">
                  <c:v>0.19276299999999999</c:v>
                </c:pt>
                <c:pt idx="156">
                  <c:v>0.18935299999999999</c:v>
                </c:pt>
                <c:pt idx="157">
                  <c:v>0.23882600000000001</c:v>
                </c:pt>
                <c:pt idx="158">
                  <c:v>0.17783199999999999</c:v>
                </c:pt>
                <c:pt idx="159">
                  <c:v>0.16419300000000001</c:v>
                </c:pt>
                <c:pt idx="160">
                  <c:v>0.21576000000000001</c:v>
                </c:pt>
                <c:pt idx="161">
                  <c:v>0.20516999999999999</c:v>
                </c:pt>
                <c:pt idx="162">
                  <c:v>0.204405</c:v>
                </c:pt>
                <c:pt idx="163">
                  <c:v>0.18898899999999999</c:v>
                </c:pt>
                <c:pt idx="164">
                  <c:v>0.216978</c:v>
                </c:pt>
                <c:pt idx="165">
                  <c:v>0.20061899999999999</c:v>
                </c:pt>
                <c:pt idx="166">
                  <c:v>0.172347</c:v>
                </c:pt>
                <c:pt idx="167">
                  <c:v>0.23389399999999999</c:v>
                </c:pt>
                <c:pt idx="168">
                  <c:v>0.201848</c:v>
                </c:pt>
                <c:pt idx="169">
                  <c:v>0.21604499999999999</c:v>
                </c:pt>
                <c:pt idx="170">
                  <c:v>0.191223</c:v>
                </c:pt>
                <c:pt idx="171">
                  <c:v>0.24709700000000001</c:v>
                </c:pt>
                <c:pt idx="172">
                  <c:v>0.22669600000000001</c:v>
                </c:pt>
                <c:pt idx="173">
                  <c:v>0.179503</c:v>
                </c:pt>
                <c:pt idx="174">
                  <c:v>0.24037800000000001</c:v>
                </c:pt>
                <c:pt idx="175">
                  <c:v>0.20257600000000001</c:v>
                </c:pt>
                <c:pt idx="176">
                  <c:v>0.22206300000000001</c:v>
                </c:pt>
                <c:pt idx="177">
                  <c:v>0.20443700000000001</c:v>
                </c:pt>
                <c:pt idx="178">
                  <c:v>0.21888199999999999</c:v>
                </c:pt>
                <c:pt idx="179">
                  <c:v>0.212394</c:v>
                </c:pt>
                <c:pt idx="180">
                  <c:v>0.17143700000000001</c:v>
                </c:pt>
                <c:pt idx="181">
                  <c:v>0.221471</c:v>
                </c:pt>
                <c:pt idx="182">
                  <c:v>0.208929</c:v>
                </c:pt>
                <c:pt idx="183">
                  <c:v>0.18871099999999999</c:v>
                </c:pt>
                <c:pt idx="184">
                  <c:v>0.16572899999999999</c:v>
                </c:pt>
                <c:pt idx="185">
                  <c:v>0.260936</c:v>
                </c:pt>
                <c:pt idx="186">
                  <c:v>0.16968800000000001</c:v>
                </c:pt>
                <c:pt idx="187">
                  <c:v>0.12546499999999999</c:v>
                </c:pt>
                <c:pt idx="188">
                  <c:v>0.17332600000000001</c:v>
                </c:pt>
                <c:pt idx="189">
                  <c:v>0.15848499999999999</c:v>
                </c:pt>
                <c:pt idx="190">
                  <c:v>0.121388</c:v>
                </c:pt>
                <c:pt idx="191">
                  <c:v>0.162995</c:v>
                </c:pt>
                <c:pt idx="192">
                  <c:v>0.21746399999999999</c:v>
                </c:pt>
                <c:pt idx="193">
                  <c:v>0.15554699999999999</c:v>
                </c:pt>
                <c:pt idx="194">
                  <c:v>0.11582000000000001</c:v>
                </c:pt>
                <c:pt idx="195">
                  <c:v>0.151394</c:v>
                </c:pt>
                <c:pt idx="196">
                  <c:v>0.13570499999999999</c:v>
                </c:pt>
                <c:pt idx="197">
                  <c:v>0.12770100000000001</c:v>
                </c:pt>
                <c:pt idx="198">
                  <c:v>0.13104099999999999</c:v>
                </c:pt>
                <c:pt idx="199">
                  <c:v>0.204013</c:v>
                </c:pt>
                <c:pt idx="200">
                  <c:v>0.124517</c:v>
                </c:pt>
                <c:pt idx="201">
                  <c:v>9.3978999999999993E-2</c:v>
                </c:pt>
                <c:pt idx="202">
                  <c:v>0.12715399999999999</c:v>
                </c:pt>
                <c:pt idx="203">
                  <c:v>0.104453</c:v>
                </c:pt>
                <c:pt idx="204">
                  <c:v>9.9714999999999998E-2</c:v>
                </c:pt>
                <c:pt idx="205">
                  <c:v>0.11762</c:v>
                </c:pt>
                <c:pt idx="206">
                  <c:v>0.18529300000000001</c:v>
                </c:pt>
                <c:pt idx="207">
                  <c:v>0.125888</c:v>
                </c:pt>
                <c:pt idx="208">
                  <c:v>8.1046000000000007E-2</c:v>
                </c:pt>
                <c:pt idx="209">
                  <c:v>0.10544199999999999</c:v>
                </c:pt>
                <c:pt idx="210">
                  <c:v>8.9968999999999993E-2</c:v>
                </c:pt>
                <c:pt idx="211">
                  <c:v>7.1395E-2</c:v>
                </c:pt>
                <c:pt idx="212">
                  <c:v>0.14464199999999999</c:v>
                </c:pt>
                <c:pt idx="213">
                  <c:v>0.15206500000000001</c:v>
                </c:pt>
                <c:pt idx="214">
                  <c:v>0.143955</c:v>
                </c:pt>
                <c:pt idx="215">
                  <c:v>8.6895E-2</c:v>
                </c:pt>
                <c:pt idx="216">
                  <c:v>4.8825E-2</c:v>
                </c:pt>
                <c:pt idx="217">
                  <c:v>7.3664999999999994E-2</c:v>
                </c:pt>
                <c:pt idx="218">
                  <c:v>6.3478000000000007E-2</c:v>
                </c:pt>
                <c:pt idx="219">
                  <c:v>7.9075999999999994E-2</c:v>
                </c:pt>
                <c:pt idx="220">
                  <c:v>0.12214700000000001</c:v>
                </c:pt>
                <c:pt idx="221">
                  <c:v>6.5310999999999994E-2</c:v>
                </c:pt>
                <c:pt idx="222">
                  <c:v>4.6831999999999999E-2</c:v>
                </c:pt>
                <c:pt idx="223">
                  <c:v>6.1717000000000001E-2</c:v>
                </c:pt>
                <c:pt idx="224">
                  <c:v>5.0939999999999999E-2</c:v>
                </c:pt>
                <c:pt idx="225">
                  <c:v>4.4892000000000001E-2</c:v>
                </c:pt>
                <c:pt idx="226">
                  <c:v>6.6732E-2</c:v>
                </c:pt>
                <c:pt idx="227">
                  <c:v>9.9174999999999999E-2</c:v>
                </c:pt>
                <c:pt idx="228">
                  <c:v>5.5204000000000003E-2</c:v>
                </c:pt>
                <c:pt idx="229">
                  <c:v>3.9503999999999997E-2</c:v>
                </c:pt>
                <c:pt idx="230">
                  <c:v>4.4965999999999999E-2</c:v>
                </c:pt>
                <c:pt idx="231">
                  <c:v>4.1193E-2</c:v>
                </c:pt>
                <c:pt idx="232">
                  <c:v>3.6444999999999998E-2</c:v>
                </c:pt>
                <c:pt idx="233">
                  <c:v>5.3536E-2</c:v>
                </c:pt>
                <c:pt idx="234">
                  <c:v>8.3674999999999999E-2</c:v>
                </c:pt>
                <c:pt idx="235">
                  <c:v>6.2682000000000002E-2</c:v>
                </c:pt>
                <c:pt idx="236">
                  <c:v>3.0393E-2</c:v>
                </c:pt>
                <c:pt idx="237">
                  <c:v>3.9510999999999998E-2</c:v>
                </c:pt>
                <c:pt idx="238">
                  <c:v>3.4702999999999998E-2</c:v>
                </c:pt>
                <c:pt idx="239">
                  <c:v>3.0639E-2</c:v>
                </c:pt>
                <c:pt idx="240">
                  <c:v>4.4833999999999999E-2</c:v>
                </c:pt>
                <c:pt idx="241">
                  <c:v>9.4861000000000001E-2</c:v>
                </c:pt>
                <c:pt idx="242">
                  <c:v>3.15E-2</c:v>
                </c:pt>
                <c:pt idx="243">
                  <c:v>2.3369999999999998E-2</c:v>
                </c:pt>
                <c:pt idx="244">
                  <c:v>3.1161999999999999E-2</c:v>
                </c:pt>
                <c:pt idx="245">
                  <c:v>2.7536000000000001E-2</c:v>
                </c:pt>
                <c:pt idx="246">
                  <c:v>2.3331000000000001E-2</c:v>
                </c:pt>
                <c:pt idx="247">
                  <c:v>3.5924999999999999E-2</c:v>
                </c:pt>
                <c:pt idx="248">
                  <c:v>5.4066999999999997E-2</c:v>
                </c:pt>
                <c:pt idx="249">
                  <c:v>2.3848000000000001E-2</c:v>
                </c:pt>
                <c:pt idx="250">
                  <c:v>1.7312000000000001E-2</c:v>
                </c:pt>
                <c:pt idx="251">
                  <c:v>1.9615E-2</c:v>
                </c:pt>
                <c:pt idx="252">
                  <c:v>1.8055000000000002E-2</c:v>
                </c:pt>
                <c:pt idx="253">
                  <c:v>1.7236000000000001E-2</c:v>
                </c:pt>
                <c:pt idx="254">
                  <c:v>2.1180999999999998E-2</c:v>
                </c:pt>
                <c:pt idx="255">
                  <c:v>3.9868000000000001E-2</c:v>
                </c:pt>
                <c:pt idx="256">
                  <c:v>1.5105E-2</c:v>
                </c:pt>
                <c:pt idx="257">
                  <c:v>1.0534E-2</c:v>
                </c:pt>
                <c:pt idx="258">
                  <c:v>1.3479E-2</c:v>
                </c:pt>
                <c:pt idx="259">
                  <c:v>1.1513000000000001E-2</c:v>
                </c:pt>
                <c:pt idx="260">
                  <c:v>9.4549999999999999E-3</c:v>
                </c:pt>
                <c:pt idx="261">
                  <c:v>1.1639999999999999E-2</c:v>
                </c:pt>
                <c:pt idx="262">
                  <c:v>2.1828E-2</c:v>
                </c:pt>
                <c:pt idx="263">
                  <c:v>1.285E-2</c:v>
                </c:pt>
                <c:pt idx="264">
                  <c:v>8.1519999999999995E-3</c:v>
                </c:pt>
                <c:pt idx="265">
                  <c:v>1.0128E-2</c:v>
                </c:pt>
                <c:pt idx="266">
                  <c:v>8.6680000000000004E-3</c:v>
                </c:pt>
                <c:pt idx="267">
                  <c:v>8.9409999999999993E-3</c:v>
                </c:pt>
                <c:pt idx="268">
                  <c:v>8.8430000000000002E-3</c:v>
                </c:pt>
                <c:pt idx="269">
                  <c:v>1.6667000000000001E-2</c:v>
                </c:pt>
                <c:pt idx="270">
                  <c:v>9.5469999999999999E-3</c:v>
                </c:pt>
                <c:pt idx="271">
                  <c:v>6.234E-3</c:v>
                </c:pt>
                <c:pt idx="272">
                  <c:v>9.8399999999999998E-3</c:v>
                </c:pt>
                <c:pt idx="273">
                  <c:v>6.6909999999999999E-3</c:v>
                </c:pt>
                <c:pt idx="274">
                  <c:v>5.7340000000000004E-3</c:v>
                </c:pt>
                <c:pt idx="275">
                  <c:v>6.8149999999999999E-3</c:v>
                </c:pt>
                <c:pt idx="276">
                  <c:v>1.0462000000000001E-2</c:v>
                </c:pt>
                <c:pt idx="277">
                  <c:v>8.8570000000000003E-3</c:v>
                </c:pt>
                <c:pt idx="278">
                  <c:v>4.1949999999999999E-3</c:v>
                </c:pt>
                <c:pt idx="279">
                  <c:v>7.0559999999999998E-3</c:v>
                </c:pt>
                <c:pt idx="280">
                  <c:v>5.3070000000000001E-3</c:v>
                </c:pt>
                <c:pt idx="281">
                  <c:v>3.859E-3</c:v>
                </c:pt>
                <c:pt idx="282">
                  <c:v>3.5209999999999998E-3</c:v>
                </c:pt>
                <c:pt idx="283">
                  <c:v>5.3429999999999997E-3</c:v>
                </c:pt>
                <c:pt idx="284">
                  <c:v>2.941E-3</c:v>
                </c:pt>
                <c:pt idx="285">
                  <c:v>2.3470000000000001E-3</c:v>
                </c:pt>
                <c:pt idx="286">
                  <c:v>3.8579999999999999E-3</c:v>
                </c:pt>
                <c:pt idx="287">
                  <c:v>1.9139999999999999E-3</c:v>
                </c:pt>
                <c:pt idx="288">
                  <c:v>1.895E-3</c:v>
                </c:pt>
                <c:pt idx="289">
                  <c:v>1.83E-3</c:v>
                </c:pt>
                <c:pt idx="290">
                  <c:v>2.4030000000000002E-3</c:v>
                </c:pt>
                <c:pt idx="291">
                  <c:v>4.8279999999999998E-3</c:v>
                </c:pt>
                <c:pt idx="292">
                  <c:v>1.358E-3</c:v>
                </c:pt>
                <c:pt idx="293">
                  <c:v>1.6739999999999999E-3</c:v>
                </c:pt>
                <c:pt idx="294">
                  <c:v>2E-3</c:v>
                </c:pt>
                <c:pt idx="295">
                  <c:v>1.5250000000000001E-3</c:v>
                </c:pt>
                <c:pt idx="296">
                  <c:v>2.7130000000000001E-3</c:v>
                </c:pt>
                <c:pt idx="297">
                  <c:v>2.846E-3</c:v>
                </c:pt>
                <c:pt idx="298">
                  <c:v>2.9719999999999998E-3</c:v>
                </c:pt>
                <c:pt idx="299">
                  <c:v>1.4829999999999999E-3</c:v>
                </c:pt>
                <c:pt idx="300">
                  <c:v>2.591E-3</c:v>
                </c:pt>
                <c:pt idx="301">
                  <c:v>2.5200000000000001E-3</c:v>
                </c:pt>
                <c:pt idx="302">
                  <c:v>2.7599999999999999E-3</c:v>
                </c:pt>
                <c:pt idx="303">
                  <c:v>3.1220000000000002E-3</c:v>
                </c:pt>
                <c:pt idx="304">
                  <c:v>4.2319999999999997E-3</c:v>
                </c:pt>
                <c:pt idx="305">
                  <c:v>6.2449999999999997E-3</c:v>
                </c:pt>
                <c:pt idx="306">
                  <c:v>5.986E-3</c:v>
                </c:pt>
                <c:pt idx="307">
                  <c:v>6.0759999999999998E-3</c:v>
                </c:pt>
                <c:pt idx="308">
                  <c:v>5.718E-3</c:v>
                </c:pt>
                <c:pt idx="309">
                  <c:v>5.2550000000000001E-3</c:v>
                </c:pt>
                <c:pt idx="310">
                  <c:v>3.954E-3</c:v>
                </c:pt>
                <c:pt idx="311">
                  <c:v>4.2890000000000003E-3</c:v>
                </c:pt>
                <c:pt idx="312">
                  <c:v>4.6109999999999996E-3</c:v>
                </c:pt>
                <c:pt idx="313">
                  <c:v>3.4120000000000001E-3</c:v>
                </c:pt>
                <c:pt idx="314">
                  <c:v>8.0459999999999993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7B1-48ED-A1BB-204AEC80CE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  <c:major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ardubický kraj</c:v>
                </c:pt>
                <c:pt idx="1">
                  <c:v>Plzeňský kraj</c:v>
                </c:pt>
                <c:pt idx="2">
                  <c:v>Hlavní město Praha</c:v>
                </c:pt>
                <c:pt idx="3">
                  <c:v>Středočeský kraj</c:v>
                </c:pt>
                <c:pt idx="4">
                  <c:v>ČR</c:v>
                </c:pt>
                <c:pt idx="5">
                  <c:v>Kraj Vysočina</c:v>
                </c:pt>
                <c:pt idx="6">
                  <c:v>Moravskoslezský kraj</c:v>
                </c:pt>
                <c:pt idx="7">
                  <c:v>Královéhradecký kraj</c:v>
                </c:pt>
                <c:pt idx="8">
                  <c:v>Zlínský kraj</c:v>
                </c:pt>
                <c:pt idx="9">
                  <c:v>Ústec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Jihomoravský kraj</c:v>
                </c:pt>
                <c:pt idx="13">
                  <c:v>Karlovarský kraj</c:v>
                </c:pt>
                <c:pt idx="14">
                  <c:v>Jihoče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28.480440000000002</c:v>
                </c:pt>
                <c:pt idx="1">
                  <c:v>28.114239999999999</c:v>
                </c:pt>
                <c:pt idx="2">
                  <c:v>27.108160000000002</c:v>
                </c:pt>
                <c:pt idx="3">
                  <c:v>16.78416</c:v>
                </c:pt>
                <c:pt idx="4">
                  <c:v>10.877129999999999</c:v>
                </c:pt>
                <c:pt idx="5">
                  <c:v>8.2207550000000005</c:v>
                </c:pt>
                <c:pt idx="6">
                  <c:v>5.9107240000000001</c:v>
                </c:pt>
                <c:pt idx="7">
                  <c:v>5.0205840000000004</c:v>
                </c:pt>
                <c:pt idx="8">
                  <c:v>4.9248950000000002</c:v>
                </c:pt>
                <c:pt idx="9">
                  <c:v>4.8985989999999999</c:v>
                </c:pt>
                <c:pt idx="10">
                  <c:v>2.9560439999999999</c:v>
                </c:pt>
                <c:pt idx="11">
                  <c:v>2.1870829999999999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5682402275193011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-34 let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03 - 23.03</c:v>
                </c:pt>
                <c:pt idx="1">
                  <c:v>24.03 - 30.03</c:v>
                </c:pt>
                <c:pt idx="2">
                  <c:v>31.03 - 06.04</c:v>
                </c:pt>
                <c:pt idx="3">
                  <c:v>07.04 - 13.04</c:v>
                </c:pt>
                <c:pt idx="4">
                  <c:v>14.04 - 20.04</c:v>
                </c:pt>
                <c:pt idx="5">
                  <c:v>21.04 - 27.04</c:v>
                </c:pt>
                <c:pt idx="6">
                  <c:v>28.04 - 04.05</c:v>
                </c:pt>
                <c:pt idx="7">
                  <c:v>05.05 - 11.05</c:v>
                </c:pt>
                <c:pt idx="8">
                  <c:v>12.05 - 18.05</c:v>
                </c:pt>
                <c:pt idx="9">
                  <c:v>19.05 - 25.05</c:v>
                </c:pt>
                <c:pt idx="10">
                  <c:v>26.05 - 01.06</c:v>
                </c:pt>
                <c:pt idx="11">
                  <c:v>02.06 - 08.06</c:v>
                </c:pt>
                <c:pt idx="12">
                  <c:v>09.06 - 15.06</c:v>
                </c:pt>
                <c:pt idx="13">
                  <c:v>16.06 - 22.06</c:v>
                </c:pt>
                <c:pt idx="14">
                  <c:v>23.06 - 29.06</c:v>
                </c:pt>
                <c:pt idx="15">
                  <c:v>30.06 - 06.07</c:v>
                </c:pt>
                <c:pt idx="16">
                  <c:v>07.07 - 13.07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628.29870000000005</c:v>
                </c:pt>
                <c:pt idx="1">
                  <c:v>488.51170000000002</c:v>
                </c:pt>
                <c:pt idx="2">
                  <c:v>310.16090000000003</c:v>
                </c:pt>
                <c:pt idx="3">
                  <c:v>306.91519149999999</c:v>
                </c:pt>
                <c:pt idx="4">
                  <c:v>207.94755760000001</c:v>
                </c:pt>
                <c:pt idx="5">
                  <c:v>167.07320000000001</c:v>
                </c:pt>
                <c:pt idx="6">
                  <c:v>134.94589999999999</c:v>
                </c:pt>
                <c:pt idx="7">
                  <c:v>96.216999999999999</c:v>
                </c:pt>
                <c:pt idx="8">
                  <c:v>71.846429999999998</c:v>
                </c:pt>
                <c:pt idx="9">
                  <c:v>42.524729999999998</c:v>
                </c:pt>
                <c:pt idx="10">
                  <c:v>29.486740000000001</c:v>
                </c:pt>
                <c:pt idx="11">
                  <c:v>25.19576</c:v>
                </c:pt>
                <c:pt idx="12">
                  <c:v>14.4133</c:v>
                </c:pt>
                <c:pt idx="13">
                  <c:v>13.148009999999999</c:v>
                </c:pt>
                <c:pt idx="14">
                  <c:v>16.063669999999998</c:v>
                </c:pt>
                <c:pt idx="15">
                  <c:v>22.33511</c:v>
                </c:pt>
                <c:pt idx="16">
                  <c:v>36.91344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-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03 - 23.03</c:v>
                </c:pt>
                <c:pt idx="1">
                  <c:v>24.03 - 30.03</c:v>
                </c:pt>
                <c:pt idx="2">
                  <c:v>31.03 - 06.04</c:v>
                </c:pt>
                <c:pt idx="3">
                  <c:v>07.04 - 13.04</c:v>
                </c:pt>
                <c:pt idx="4">
                  <c:v>14.04 - 20.04</c:v>
                </c:pt>
                <c:pt idx="5">
                  <c:v>21.04 - 27.04</c:v>
                </c:pt>
                <c:pt idx="6">
                  <c:v>28.04 - 04.05</c:v>
                </c:pt>
                <c:pt idx="7">
                  <c:v>05.05 - 11.05</c:v>
                </c:pt>
                <c:pt idx="8">
                  <c:v>12.05 - 18.05</c:v>
                </c:pt>
                <c:pt idx="9">
                  <c:v>19.05 - 25.05</c:v>
                </c:pt>
                <c:pt idx="10">
                  <c:v>26.05 - 01.06</c:v>
                </c:pt>
                <c:pt idx="11">
                  <c:v>02.06 - 08.06</c:v>
                </c:pt>
                <c:pt idx="12">
                  <c:v>09.06 - 15.06</c:v>
                </c:pt>
                <c:pt idx="13">
                  <c:v>16.06 - 22.06</c:v>
                </c:pt>
                <c:pt idx="14">
                  <c:v>23.06 - 29.06</c:v>
                </c:pt>
                <c:pt idx="15">
                  <c:v>30.06 - 06.07</c:v>
                </c:pt>
                <c:pt idx="16">
                  <c:v>07.07 - 13.07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636.91650000000004</c:v>
                </c:pt>
                <c:pt idx="1">
                  <c:v>476.62970000000001</c:v>
                </c:pt>
                <c:pt idx="2">
                  <c:v>290.64330000000001</c:v>
                </c:pt>
                <c:pt idx="3">
                  <c:v>305.39095700000001</c:v>
                </c:pt>
                <c:pt idx="4">
                  <c:v>208.0881158</c:v>
                </c:pt>
                <c:pt idx="5">
                  <c:v>170.72479999999999</c:v>
                </c:pt>
                <c:pt idx="6">
                  <c:v>137.39429999999999</c:v>
                </c:pt>
                <c:pt idx="7">
                  <c:v>102.56140000000001</c:v>
                </c:pt>
                <c:pt idx="8">
                  <c:v>72.749790000000004</c:v>
                </c:pt>
                <c:pt idx="9">
                  <c:v>41.356670000000001</c:v>
                </c:pt>
                <c:pt idx="10">
                  <c:v>31.867570000000001</c:v>
                </c:pt>
                <c:pt idx="11">
                  <c:v>20.796949999999999</c:v>
                </c:pt>
                <c:pt idx="12">
                  <c:v>10.240320000000001</c:v>
                </c:pt>
                <c:pt idx="13">
                  <c:v>7.4726679999999996</c:v>
                </c:pt>
                <c:pt idx="14">
                  <c:v>6.6819100000000002</c:v>
                </c:pt>
                <c:pt idx="15">
                  <c:v>6.7609859999999999</c:v>
                </c:pt>
                <c:pt idx="16">
                  <c:v>13.521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-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03 - 23.03</c:v>
                </c:pt>
                <c:pt idx="1">
                  <c:v>24.03 - 30.03</c:v>
                </c:pt>
                <c:pt idx="2">
                  <c:v>31.03 - 06.04</c:v>
                </c:pt>
                <c:pt idx="3">
                  <c:v>07.04 - 13.04</c:v>
                </c:pt>
                <c:pt idx="4">
                  <c:v>14.04 - 20.04</c:v>
                </c:pt>
                <c:pt idx="5">
                  <c:v>21.04 - 27.04</c:v>
                </c:pt>
                <c:pt idx="6">
                  <c:v>28.04 - 04.05</c:v>
                </c:pt>
                <c:pt idx="7">
                  <c:v>05.05 - 11.05</c:v>
                </c:pt>
                <c:pt idx="8">
                  <c:v>12.05 - 18.05</c:v>
                </c:pt>
                <c:pt idx="9">
                  <c:v>19.05 - 25.05</c:v>
                </c:pt>
                <c:pt idx="10">
                  <c:v>26.05 - 01.06</c:v>
                </c:pt>
                <c:pt idx="11">
                  <c:v>02.06 - 08.06</c:v>
                </c:pt>
                <c:pt idx="12">
                  <c:v>09.06 - 15.06</c:v>
                </c:pt>
                <c:pt idx="13">
                  <c:v>16.06 - 22.06</c:v>
                </c:pt>
                <c:pt idx="14">
                  <c:v>23.06 - 29.06</c:v>
                </c:pt>
                <c:pt idx="15">
                  <c:v>30.06 - 06.07</c:v>
                </c:pt>
                <c:pt idx="16">
                  <c:v>07.07 - 13.07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670.90210000000002</c:v>
                </c:pt>
                <c:pt idx="1">
                  <c:v>511.0052</c:v>
                </c:pt>
                <c:pt idx="2">
                  <c:v>310.12729999999999</c:v>
                </c:pt>
                <c:pt idx="3">
                  <c:v>327.39577129999998</c:v>
                </c:pt>
                <c:pt idx="4">
                  <c:v>202.94208119999999</c:v>
                </c:pt>
                <c:pt idx="5">
                  <c:v>167.90170000000001</c:v>
                </c:pt>
                <c:pt idx="6">
                  <c:v>138.70140000000001</c:v>
                </c:pt>
                <c:pt idx="7">
                  <c:v>96.159610000000001</c:v>
                </c:pt>
                <c:pt idx="8">
                  <c:v>63.485480000000003</c:v>
                </c:pt>
                <c:pt idx="9">
                  <c:v>34.889319999999998</c:v>
                </c:pt>
                <c:pt idx="10">
                  <c:v>21.145040000000002</c:v>
                </c:pt>
                <c:pt idx="11">
                  <c:v>14.04635</c:v>
                </c:pt>
                <c:pt idx="12">
                  <c:v>7.6524919999999996</c:v>
                </c:pt>
                <c:pt idx="13">
                  <c:v>4.9338439999999997</c:v>
                </c:pt>
                <c:pt idx="14">
                  <c:v>2.9703750000000002</c:v>
                </c:pt>
                <c:pt idx="15">
                  <c:v>3.222102</c:v>
                </c:pt>
                <c:pt idx="16">
                  <c:v>7.602147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-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03 - 23.03</c:v>
                </c:pt>
                <c:pt idx="1">
                  <c:v>24.03 - 30.03</c:v>
                </c:pt>
                <c:pt idx="2">
                  <c:v>31.03 - 06.04</c:v>
                </c:pt>
                <c:pt idx="3">
                  <c:v>07.04 - 13.04</c:v>
                </c:pt>
                <c:pt idx="4">
                  <c:v>14.04 - 20.04</c:v>
                </c:pt>
                <c:pt idx="5">
                  <c:v>21.04 - 27.04</c:v>
                </c:pt>
                <c:pt idx="6">
                  <c:v>28.04 - 04.05</c:v>
                </c:pt>
                <c:pt idx="7">
                  <c:v>05.05 - 11.05</c:v>
                </c:pt>
                <c:pt idx="8">
                  <c:v>12.05 - 18.05</c:v>
                </c:pt>
                <c:pt idx="9">
                  <c:v>19.05 - 25.05</c:v>
                </c:pt>
                <c:pt idx="10">
                  <c:v>26.05 - 01.06</c:v>
                </c:pt>
                <c:pt idx="11">
                  <c:v>02.06 - 08.06</c:v>
                </c:pt>
                <c:pt idx="12">
                  <c:v>09.06 - 15.06</c:v>
                </c:pt>
                <c:pt idx="13">
                  <c:v>16.06 - 22.06</c:v>
                </c:pt>
                <c:pt idx="14">
                  <c:v>23.06 - 29.06</c:v>
                </c:pt>
                <c:pt idx="15">
                  <c:v>30.06 - 06.07</c:v>
                </c:pt>
                <c:pt idx="16">
                  <c:v>07.07 - 13.07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424.63060000000002</c:v>
                </c:pt>
                <c:pt idx="1">
                  <c:v>345.00749999999999</c:v>
                </c:pt>
                <c:pt idx="2">
                  <c:v>216.91489999999999</c:v>
                </c:pt>
                <c:pt idx="3">
                  <c:v>214.9049741</c:v>
                </c:pt>
                <c:pt idx="4">
                  <c:v>138.9151937</c:v>
                </c:pt>
                <c:pt idx="5">
                  <c:v>108.45740000000001</c:v>
                </c:pt>
                <c:pt idx="6">
                  <c:v>94.388120000000001</c:v>
                </c:pt>
                <c:pt idx="7">
                  <c:v>60.297080000000001</c:v>
                </c:pt>
                <c:pt idx="8">
                  <c:v>39.270409999999998</c:v>
                </c:pt>
                <c:pt idx="9">
                  <c:v>19.5579</c:v>
                </c:pt>
                <c:pt idx="10">
                  <c:v>12.90976</c:v>
                </c:pt>
                <c:pt idx="11">
                  <c:v>7.6530909999999999</c:v>
                </c:pt>
                <c:pt idx="12">
                  <c:v>4.0971089999999997</c:v>
                </c:pt>
                <c:pt idx="13">
                  <c:v>2.7829419999999998</c:v>
                </c:pt>
                <c:pt idx="14">
                  <c:v>1.0049509999999999</c:v>
                </c:pt>
                <c:pt idx="15">
                  <c:v>0.927647</c:v>
                </c:pt>
                <c:pt idx="16">
                  <c:v>3.32406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+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03 - 23.03</c:v>
                </c:pt>
                <c:pt idx="1">
                  <c:v>24.03 - 30.03</c:v>
                </c:pt>
                <c:pt idx="2">
                  <c:v>31.03 - 06.04</c:v>
                </c:pt>
                <c:pt idx="3">
                  <c:v>07.04 - 13.04</c:v>
                </c:pt>
                <c:pt idx="4">
                  <c:v>14.04 - 20.04</c:v>
                </c:pt>
                <c:pt idx="5">
                  <c:v>21.04 - 27.04</c:v>
                </c:pt>
                <c:pt idx="6">
                  <c:v>28.04 - 04.05</c:v>
                </c:pt>
                <c:pt idx="7">
                  <c:v>05.05 - 11.05</c:v>
                </c:pt>
                <c:pt idx="8">
                  <c:v>12.05 - 18.05</c:v>
                </c:pt>
                <c:pt idx="9">
                  <c:v>19.05 - 25.05</c:v>
                </c:pt>
                <c:pt idx="10">
                  <c:v>26.05 - 01.06</c:v>
                </c:pt>
                <c:pt idx="11">
                  <c:v>02.06 - 08.06</c:v>
                </c:pt>
                <c:pt idx="12">
                  <c:v>09.06 - 15.06</c:v>
                </c:pt>
                <c:pt idx="13">
                  <c:v>16.06 - 22.06</c:v>
                </c:pt>
                <c:pt idx="14">
                  <c:v>23.06 - 29.06</c:v>
                </c:pt>
                <c:pt idx="15">
                  <c:v>30.06 - 06.07</c:v>
                </c:pt>
                <c:pt idx="16">
                  <c:v>07.07 - 13.07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395.9631</c:v>
                </c:pt>
                <c:pt idx="1">
                  <c:v>312.1216</c:v>
                </c:pt>
                <c:pt idx="2">
                  <c:v>200.75700000000001</c:v>
                </c:pt>
                <c:pt idx="3">
                  <c:v>177.0500979</c:v>
                </c:pt>
                <c:pt idx="4">
                  <c:v>128.7111424</c:v>
                </c:pt>
                <c:pt idx="5">
                  <c:v>89.623660000000001</c:v>
                </c:pt>
                <c:pt idx="6">
                  <c:v>67.188839999999999</c:v>
                </c:pt>
                <c:pt idx="7">
                  <c:v>48.33896</c:v>
                </c:pt>
                <c:pt idx="8">
                  <c:v>30.876799999999999</c:v>
                </c:pt>
                <c:pt idx="9">
                  <c:v>23.591259999999998</c:v>
                </c:pt>
                <c:pt idx="10">
                  <c:v>13.761570000000001</c:v>
                </c:pt>
                <c:pt idx="11">
                  <c:v>8.3263269999999991</c:v>
                </c:pt>
                <c:pt idx="12">
                  <c:v>4.857024</c:v>
                </c:pt>
                <c:pt idx="13">
                  <c:v>5.4352410000000004</c:v>
                </c:pt>
                <c:pt idx="14">
                  <c:v>2.081582</c:v>
                </c:pt>
                <c:pt idx="15">
                  <c:v>1.619008</c:v>
                </c:pt>
                <c:pt idx="16">
                  <c:v>2.7754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03 - 23.03</c:v>
                </c:pt>
                <c:pt idx="1">
                  <c:v>24.03 - 30.03</c:v>
                </c:pt>
                <c:pt idx="2">
                  <c:v>31.03 - 06.04</c:v>
                </c:pt>
                <c:pt idx="3">
                  <c:v>07.04 - 13.04</c:v>
                </c:pt>
                <c:pt idx="4">
                  <c:v>14.04 - 20.04</c:v>
                </c:pt>
                <c:pt idx="5">
                  <c:v>21.04 - 27.04</c:v>
                </c:pt>
                <c:pt idx="6">
                  <c:v>28.04 - 04.05</c:v>
                </c:pt>
                <c:pt idx="7">
                  <c:v>05.05 - 11.05</c:v>
                </c:pt>
                <c:pt idx="8">
                  <c:v>12.05 - 18.05</c:v>
                </c:pt>
                <c:pt idx="9">
                  <c:v>19.05 - 25.05</c:v>
                </c:pt>
                <c:pt idx="10">
                  <c:v>26.05 - 01.06</c:v>
                </c:pt>
                <c:pt idx="11">
                  <c:v>02.06 - 08.06</c:v>
                </c:pt>
                <c:pt idx="12">
                  <c:v>09.06 - 15.06</c:v>
                </c:pt>
                <c:pt idx="13">
                  <c:v>16.06 - 22.06</c:v>
                </c:pt>
                <c:pt idx="14">
                  <c:v>23.06 - 29.06</c:v>
                </c:pt>
                <c:pt idx="15">
                  <c:v>30.06 - 06.07</c:v>
                </c:pt>
                <c:pt idx="16">
                  <c:v>07.07 - 13.07</c:v>
                </c:pt>
              </c:strCache>
            </c:strRef>
          </c:cat>
          <c:val>
            <c:numRef>
              <c:f>List1!$B$7:$R$7</c:f>
              <c:numCache>
                <c:formatCode>General</c:formatCode>
                <c:ptCount val="17"/>
                <c:pt idx="0">
                  <c:v>555.65539999999999</c:v>
                </c:pt>
                <c:pt idx="1">
                  <c:v>427.68599999999998</c:v>
                </c:pt>
                <c:pt idx="2">
                  <c:v>265.70350000000002</c:v>
                </c:pt>
                <c:pt idx="3">
                  <c:v>273.46860249999997</c:v>
                </c:pt>
                <c:pt idx="4">
                  <c:v>184.33387279999999</c:v>
                </c:pt>
                <c:pt idx="5">
                  <c:v>150.7413</c:v>
                </c:pt>
                <c:pt idx="6">
                  <c:v>123.3066</c:v>
                </c:pt>
                <c:pt idx="7">
                  <c:v>88.069490000000002</c:v>
                </c:pt>
                <c:pt idx="8">
                  <c:v>62.774619999999999</c:v>
                </c:pt>
                <c:pt idx="9">
                  <c:v>37.498449999999998</c:v>
                </c:pt>
                <c:pt idx="10">
                  <c:v>26.341419999999999</c:v>
                </c:pt>
                <c:pt idx="11">
                  <c:v>18.89406</c:v>
                </c:pt>
                <c:pt idx="12">
                  <c:v>10.40949</c:v>
                </c:pt>
                <c:pt idx="13">
                  <c:v>7.2885090000000003</c:v>
                </c:pt>
                <c:pt idx="14">
                  <c:v>7.1203130000000003</c:v>
                </c:pt>
                <c:pt idx="15">
                  <c:v>8.6808010000000007</c:v>
                </c:pt>
                <c:pt idx="16">
                  <c:v>15.651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7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01_05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ardubický kraj</c:v>
                </c:pt>
                <c:pt idx="1">
                  <c:v>Plzeňský kraj</c:v>
                </c:pt>
                <c:pt idx="2">
                  <c:v>Hlavní město Praha</c:v>
                </c:pt>
                <c:pt idx="3">
                  <c:v>Středočeský kraj</c:v>
                </c:pt>
                <c:pt idx="4">
                  <c:v>ČR</c:v>
                </c:pt>
                <c:pt idx="5">
                  <c:v>Kraj Vysočina</c:v>
                </c:pt>
                <c:pt idx="6">
                  <c:v>Moravskoslezský kraj</c:v>
                </c:pt>
                <c:pt idx="7">
                  <c:v>Královéhradecký kraj</c:v>
                </c:pt>
                <c:pt idx="8">
                  <c:v>Zlínský kraj</c:v>
                </c:pt>
                <c:pt idx="9">
                  <c:v>Ústec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Jihomoravský kraj</c:v>
                </c:pt>
                <c:pt idx="13">
                  <c:v>Karlovarský kraj</c:v>
                </c:pt>
                <c:pt idx="14">
                  <c:v>Jihoče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50.1696</c:v>
                </c:pt>
                <c:pt idx="1">
                  <c:v>74.971299999999999</c:v>
                </c:pt>
                <c:pt idx="2">
                  <c:v>117.4687</c:v>
                </c:pt>
                <c:pt idx="3">
                  <c:v>125.88120000000001</c:v>
                </c:pt>
                <c:pt idx="4">
                  <c:v>146.90379999999999</c:v>
                </c:pt>
                <c:pt idx="5">
                  <c:v>189.07740000000001</c:v>
                </c:pt>
                <c:pt idx="6">
                  <c:v>189.14320000000001</c:v>
                </c:pt>
                <c:pt idx="7">
                  <c:v>47.695549999999997</c:v>
                </c:pt>
                <c:pt idx="8">
                  <c:v>216.69540000000001</c:v>
                </c:pt>
                <c:pt idx="9">
                  <c:v>191.0454</c:v>
                </c:pt>
                <c:pt idx="10">
                  <c:v>94.593400000000003</c:v>
                </c:pt>
                <c:pt idx="11">
                  <c:v>131.22499999999999</c:v>
                </c:pt>
                <c:pt idx="12">
                  <c:v>187.15889999999999</c:v>
                </c:pt>
                <c:pt idx="13">
                  <c:v>24.14526</c:v>
                </c:pt>
                <c:pt idx="14">
                  <c:v>212.5689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12-4CBF-BBB0-B856CD71C7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13_06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ardubický kraj</c:v>
                </c:pt>
                <c:pt idx="1">
                  <c:v>Plzeňský kraj</c:v>
                </c:pt>
                <c:pt idx="2">
                  <c:v>Hlavní město Praha</c:v>
                </c:pt>
                <c:pt idx="3">
                  <c:v>Středočeský kraj</c:v>
                </c:pt>
                <c:pt idx="4">
                  <c:v>ČR</c:v>
                </c:pt>
                <c:pt idx="5">
                  <c:v>Kraj Vysočina</c:v>
                </c:pt>
                <c:pt idx="6">
                  <c:v>Moravskoslezský kraj</c:v>
                </c:pt>
                <c:pt idx="7">
                  <c:v>Královéhradecký kraj</c:v>
                </c:pt>
                <c:pt idx="8">
                  <c:v>Zlínský kraj</c:v>
                </c:pt>
                <c:pt idx="9">
                  <c:v>Ústec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Jihomoravský kraj</c:v>
                </c:pt>
                <c:pt idx="13">
                  <c:v>Karlovarský kraj</c:v>
                </c:pt>
                <c:pt idx="14">
                  <c:v>Jihoče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15.53478</c:v>
                </c:pt>
                <c:pt idx="1">
                  <c:v>11.714270000000001</c:v>
                </c:pt>
                <c:pt idx="2">
                  <c:v>15.060090000000001</c:v>
                </c:pt>
                <c:pt idx="3">
                  <c:v>8.3920779999999997</c:v>
                </c:pt>
                <c:pt idx="4">
                  <c:v>15.50304</c:v>
                </c:pt>
                <c:pt idx="5">
                  <c:v>5.4805029999999997</c:v>
                </c:pt>
                <c:pt idx="6">
                  <c:v>22.460750000000001</c:v>
                </c:pt>
                <c:pt idx="7">
                  <c:v>2.5102920000000002</c:v>
                </c:pt>
                <c:pt idx="8">
                  <c:v>36.936720000000001</c:v>
                </c:pt>
                <c:pt idx="9">
                  <c:v>13.06293</c:v>
                </c:pt>
                <c:pt idx="10">
                  <c:v>17.736260000000001</c:v>
                </c:pt>
                <c:pt idx="11">
                  <c:v>24.05791</c:v>
                </c:pt>
                <c:pt idx="12">
                  <c:v>10.086410000000001</c:v>
                </c:pt>
                <c:pt idx="13">
                  <c:v>9.6581030000000005</c:v>
                </c:pt>
                <c:pt idx="14">
                  <c:v>31.569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12-4CBF-BBB0-B856CD71C7F9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C2_07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ardubický kraj</c:v>
                </c:pt>
                <c:pt idx="1">
                  <c:v>Plzeňský kraj</c:v>
                </c:pt>
                <c:pt idx="2">
                  <c:v>Hlavní město Praha</c:v>
                </c:pt>
                <c:pt idx="3">
                  <c:v>Středočeský kraj</c:v>
                </c:pt>
                <c:pt idx="4">
                  <c:v>ČR</c:v>
                </c:pt>
                <c:pt idx="5">
                  <c:v>Kraj Vysočina</c:v>
                </c:pt>
                <c:pt idx="6">
                  <c:v>Moravskoslezský kraj</c:v>
                </c:pt>
                <c:pt idx="7">
                  <c:v>Královéhradecký kraj</c:v>
                </c:pt>
                <c:pt idx="8">
                  <c:v>Zlínský kraj</c:v>
                </c:pt>
                <c:pt idx="9">
                  <c:v>Ústec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Jihomoravský kraj</c:v>
                </c:pt>
                <c:pt idx="13">
                  <c:v>Karlovarský kraj</c:v>
                </c:pt>
                <c:pt idx="14">
                  <c:v>Jihoče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0</c:v>
                </c:pt>
                <c:pt idx="1">
                  <c:v>4.6857059999999997</c:v>
                </c:pt>
                <c:pt idx="2">
                  <c:v>10.04006</c:v>
                </c:pt>
                <c:pt idx="3">
                  <c:v>10.909700000000001</c:v>
                </c:pt>
                <c:pt idx="4">
                  <c:v>5.50108</c:v>
                </c:pt>
                <c:pt idx="5">
                  <c:v>2.7402519999999999</c:v>
                </c:pt>
                <c:pt idx="6">
                  <c:v>10.6393</c:v>
                </c:pt>
                <c:pt idx="7">
                  <c:v>0</c:v>
                </c:pt>
                <c:pt idx="8">
                  <c:v>2.4624480000000002</c:v>
                </c:pt>
                <c:pt idx="9">
                  <c:v>0</c:v>
                </c:pt>
                <c:pt idx="10">
                  <c:v>2.9560439999999999</c:v>
                </c:pt>
                <c:pt idx="11">
                  <c:v>2.1870829999999999</c:v>
                </c:pt>
                <c:pt idx="12">
                  <c:v>3.362136</c:v>
                </c:pt>
                <c:pt idx="13">
                  <c:v>4.8290519999999999</c:v>
                </c:pt>
                <c:pt idx="14">
                  <c:v>4.209285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12-4CBF-BBB0-B856CD71C7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ardubický kraj</c:v>
                </c:pt>
                <c:pt idx="1">
                  <c:v>Plzeňský kraj</c:v>
                </c:pt>
                <c:pt idx="2">
                  <c:v>Hlavní město Praha</c:v>
                </c:pt>
                <c:pt idx="3">
                  <c:v>Středočeský kraj</c:v>
                </c:pt>
                <c:pt idx="4">
                  <c:v>ČR</c:v>
                </c:pt>
                <c:pt idx="5">
                  <c:v>Kraj Vysočina</c:v>
                </c:pt>
                <c:pt idx="6">
                  <c:v>Moravskoslezský kraj</c:v>
                </c:pt>
                <c:pt idx="7">
                  <c:v>Královéhradecký kraj</c:v>
                </c:pt>
                <c:pt idx="8">
                  <c:v>Zlínský kraj</c:v>
                </c:pt>
                <c:pt idx="9">
                  <c:v>Ústec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Jihomoravský kraj</c:v>
                </c:pt>
                <c:pt idx="13">
                  <c:v>Karlovarský kraj</c:v>
                </c:pt>
                <c:pt idx="14">
                  <c:v>Jihoče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28.480440000000002</c:v>
                </c:pt>
                <c:pt idx="1">
                  <c:v>28.114239999999999</c:v>
                </c:pt>
                <c:pt idx="2">
                  <c:v>27.108160000000002</c:v>
                </c:pt>
                <c:pt idx="3">
                  <c:v>16.78416</c:v>
                </c:pt>
                <c:pt idx="4">
                  <c:v>10.877129999999999</c:v>
                </c:pt>
                <c:pt idx="5">
                  <c:v>8.2207550000000005</c:v>
                </c:pt>
                <c:pt idx="6">
                  <c:v>5.9107240000000001</c:v>
                </c:pt>
                <c:pt idx="7">
                  <c:v>5.0205840000000004</c:v>
                </c:pt>
                <c:pt idx="8">
                  <c:v>4.9248950000000002</c:v>
                </c:pt>
                <c:pt idx="9">
                  <c:v>4.8985989999999999</c:v>
                </c:pt>
                <c:pt idx="10">
                  <c:v>2.9560439999999999</c:v>
                </c:pt>
                <c:pt idx="11">
                  <c:v>2.1870829999999999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C12-4CBF-BBB0-B856CD71C7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Kraj Vysočina</c:v>
                </c:pt>
                <c:pt idx="2">
                  <c:v>Pardubický kraj</c:v>
                </c:pt>
                <c:pt idx="3">
                  <c:v>Libere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Královéhradecký kraj</c:v>
                </c:pt>
                <c:pt idx="7">
                  <c:v>Plzeňský kraj</c:v>
                </c:pt>
                <c:pt idx="8">
                  <c:v>Zlínský kraj</c:v>
                </c:pt>
                <c:pt idx="9">
                  <c:v>Jihočeský kraj</c:v>
                </c:pt>
                <c:pt idx="10">
                  <c:v>Jihomoravský kraj</c:v>
                </c:pt>
                <c:pt idx="11">
                  <c:v>Ústecký kraj</c:v>
                </c:pt>
                <c:pt idx="12">
                  <c:v>Moravskoslezs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57.543109999999999</c:v>
                </c:pt>
                <c:pt idx="1">
                  <c:v>46.474879999999999</c:v>
                </c:pt>
                <c:pt idx="2">
                  <c:v>44.760750000000002</c:v>
                </c:pt>
                <c:pt idx="3">
                  <c:v>35.858820000000001</c:v>
                </c:pt>
                <c:pt idx="4">
                  <c:v>33.793120000000002</c:v>
                </c:pt>
                <c:pt idx="5">
                  <c:v>21.68732</c:v>
                </c:pt>
                <c:pt idx="6">
                  <c:v>16.773599999999998</c:v>
                </c:pt>
                <c:pt idx="7">
                  <c:v>16.081700000000001</c:v>
                </c:pt>
                <c:pt idx="8">
                  <c:v>12.36196</c:v>
                </c:pt>
                <c:pt idx="9">
                  <c:v>7.2469020000000004</c:v>
                </c:pt>
                <c:pt idx="10">
                  <c:v>6.1743639999999997</c:v>
                </c:pt>
                <c:pt idx="11">
                  <c:v>5.3197150000000004</c:v>
                </c:pt>
                <c:pt idx="12">
                  <c:v>3.925494</c:v>
                </c:pt>
                <c:pt idx="13">
                  <c:v>3.7136070000000001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01_05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Kraj Vysočina</c:v>
                </c:pt>
                <c:pt idx="2">
                  <c:v>Pardubický kraj</c:v>
                </c:pt>
                <c:pt idx="3">
                  <c:v>Libere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Královéhradecký kraj</c:v>
                </c:pt>
                <c:pt idx="7">
                  <c:v>Plzeňský kraj</c:v>
                </c:pt>
                <c:pt idx="8">
                  <c:v>Zlínský kraj</c:v>
                </c:pt>
                <c:pt idx="9">
                  <c:v>Jihočeský kraj</c:v>
                </c:pt>
                <c:pt idx="10">
                  <c:v>Jihomoravský kraj</c:v>
                </c:pt>
                <c:pt idx="11">
                  <c:v>Ústecký kraj</c:v>
                </c:pt>
                <c:pt idx="12">
                  <c:v>Moravskoslezs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17.0705</c:v>
                </c:pt>
                <c:pt idx="1">
                  <c:v>264.90679999999998</c:v>
                </c:pt>
                <c:pt idx="2">
                  <c:v>147.7105</c:v>
                </c:pt>
                <c:pt idx="3">
                  <c:v>122.94450000000001</c:v>
                </c:pt>
                <c:pt idx="4">
                  <c:v>122.8841</c:v>
                </c:pt>
                <c:pt idx="5">
                  <c:v>150.7159</c:v>
                </c:pt>
                <c:pt idx="6">
                  <c:v>33.547199999999997</c:v>
                </c:pt>
                <c:pt idx="7">
                  <c:v>88.44932</c:v>
                </c:pt>
                <c:pt idx="8">
                  <c:v>230.75659999999999</c:v>
                </c:pt>
                <c:pt idx="9">
                  <c:v>239.14779999999999</c:v>
                </c:pt>
                <c:pt idx="10">
                  <c:v>154.35910000000001</c:v>
                </c:pt>
                <c:pt idx="11">
                  <c:v>215.4485</c:v>
                </c:pt>
                <c:pt idx="12">
                  <c:v>151.13149999999999</c:v>
                </c:pt>
                <c:pt idx="13">
                  <c:v>159.68510000000001</c:v>
                </c:pt>
                <c:pt idx="14">
                  <c:v>53.99985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F-4ABE-BBEB-A66F965F7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13_06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Kraj Vysočina</c:v>
                </c:pt>
                <c:pt idx="2">
                  <c:v>Pardubický kraj</c:v>
                </c:pt>
                <c:pt idx="3">
                  <c:v>Libere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Královéhradecký kraj</c:v>
                </c:pt>
                <c:pt idx="7">
                  <c:v>Plzeňský kraj</c:v>
                </c:pt>
                <c:pt idx="8">
                  <c:v>Zlínský kraj</c:v>
                </c:pt>
                <c:pt idx="9">
                  <c:v>Jihočeský kraj</c:v>
                </c:pt>
                <c:pt idx="10">
                  <c:v>Jihomoravský kraj</c:v>
                </c:pt>
                <c:pt idx="11">
                  <c:v>Ústecký kraj</c:v>
                </c:pt>
                <c:pt idx="12">
                  <c:v>Moravskoslezs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23.810939999999999</c:v>
                </c:pt>
                <c:pt idx="1">
                  <c:v>4.6474880000000001</c:v>
                </c:pt>
                <c:pt idx="2">
                  <c:v>13.428229999999999</c:v>
                </c:pt>
                <c:pt idx="3">
                  <c:v>15.368069999999999</c:v>
                </c:pt>
                <c:pt idx="4">
                  <c:v>19.96866</c:v>
                </c:pt>
                <c:pt idx="5">
                  <c:v>24.75421</c:v>
                </c:pt>
                <c:pt idx="6">
                  <c:v>0</c:v>
                </c:pt>
                <c:pt idx="7">
                  <c:v>56.28593</c:v>
                </c:pt>
                <c:pt idx="8">
                  <c:v>24.72392</c:v>
                </c:pt>
                <c:pt idx="9">
                  <c:v>43.481409999999997</c:v>
                </c:pt>
                <c:pt idx="10">
                  <c:v>18.52309</c:v>
                </c:pt>
                <c:pt idx="11">
                  <c:v>26.598569999999999</c:v>
                </c:pt>
                <c:pt idx="12">
                  <c:v>33.366700000000002</c:v>
                </c:pt>
                <c:pt idx="13">
                  <c:v>37.136069999999997</c:v>
                </c:pt>
                <c:pt idx="14">
                  <c:v>23.14279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6F-4ABE-BBEB-A66F965F780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C2_07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Kraj Vysočina</c:v>
                </c:pt>
                <c:pt idx="2">
                  <c:v>Pardubický kraj</c:v>
                </c:pt>
                <c:pt idx="3">
                  <c:v>Libere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Královéhradecký kraj</c:v>
                </c:pt>
                <c:pt idx="7">
                  <c:v>Plzeňský kraj</c:v>
                </c:pt>
                <c:pt idx="8">
                  <c:v>Zlínský kraj</c:v>
                </c:pt>
                <c:pt idx="9">
                  <c:v>Jihočeský kraj</c:v>
                </c:pt>
                <c:pt idx="10">
                  <c:v>Jihomoravský kraj</c:v>
                </c:pt>
                <c:pt idx="11">
                  <c:v>Ústecký kraj</c:v>
                </c:pt>
                <c:pt idx="12">
                  <c:v>Moravskoslezs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25.795190000000002</c:v>
                </c:pt>
                <c:pt idx="1">
                  <c:v>4.6474880000000001</c:v>
                </c:pt>
                <c:pt idx="2">
                  <c:v>8.9521510000000006</c:v>
                </c:pt>
                <c:pt idx="3">
                  <c:v>20.490749999999998</c:v>
                </c:pt>
                <c:pt idx="4">
                  <c:v>23.040769999999998</c:v>
                </c:pt>
                <c:pt idx="5">
                  <c:v>15.55353</c:v>
                </c:pt>
                <c:pt idx="6">
                  <c:v>0</c:v>
                </c:pt>
                <c:pt idx="7">
                  <c:v>48.245089999999998</c:v>
                </c:pt>
                <c:pt idx="8">
                  <c:v>32.965220000000002</c:v>
                </c:pt>
                <c:pt idx="9">
                  <c:v>7.2469020000000004</c:v>
                </c:pt>
                <c:pt idx="10">
                  <c:v>6.1743639999999997</c:v>
                </c:pt>
                <c:pt idx="11">
                  <c:v>0</c:v>
                </c:pt>
                <c:pt idx="12">
                  <c:v>17.664719999999999</c:v>
                </c:pt>
                <c:pt idx="13">
                  <c:v>0</c:v>
                </c:pt>
                <c:pt idx="14">
                  <c:v>15.428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6F-4ABE-BBEB-A66F965F7806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Kraj Vysočina</c:v>
                </c:pt>
                <c:pt idx="2">
                  <c:v>Pardubický kraj</c:v>
                </c:pt>
                <c:pt idx="3">
                  <c:v>Libere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Královéhradecký kraj</c:v>
                </c:pt>
                <c:pt idx="7">
                  <c:v>Plzeňský kraj</c:v>
                </c:pt>
                <c:pt idx="8">
                  <c:v>Zlínský kraj</c:v>
                </c:pt>
                <c:pt idx="9">
                  <c:v>Jihočeský kraj</c:v>
                </c:pt>
                <c:pt idx="10">
                  <c:v>Jihomoravský kraj</c:v>
                </c:pt>
                <c:pt idx="11">
                  <c:v>Ústecký kraj</c:v>
                </c:pt>
                <c:pt idx="12">
                  <c:v>Moravskoslezs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57.543109999999999</c:v>
                </c:pt>
                <c:pt idx="1">
                  <c:v>46.474879999999999</c:v>
                </c:pt>
                <c:pt idx="2">
                  <c:v>44.760750000000002</c:v>
                </c:pt>
                <c:pt idx="3">
                  <c:v>35.858820000000001</c:v>
                </c:pt>
                <c:pt idx="4">
                  <c:v>33.793120000000002</c:v>
                </c:pt>
                <c:pt idx="5">
                  <c:v>21.68732</c:v>
                </c:pt>
                <c:pt idx="6">
                  <c:v>16.773599999999998</c:v>
                </c:pt>
                <c:pt idx="7">
                  <c:v>16.081700000000001</c:v>
                </c:pt>
                <c:pt idx="8">
                  <c:v>12.36196</c:v>
                </c:pt>
                <c:pt idx="9">
                  <c:v>7.2469020000000004</c:v>
                </c:pt>
                <c:pt idx="10">
                  <c:v>6.1743639999999997</c:v>
                </c:pt>
                <c:pt idx="11">
                  <c:v>5.3197150000000004</c:v>
                </c:pt>
                <c:pt idx="12">
                  <c:v>3.925494</c:v>
                </c:pt>
                <c:pt idx="13">
                  <c:v>3.7136070000000001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6F-4ABE-BBEB-A66F965F7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01_05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ČR</c:v>
                </c:pt>
                <c:pt idx="4">
                  <c:v>Kraj Vysočina</c:v>
                </c:pt>
                <c:pt idx="5">
                  <c:v>Pardubický kraj</c:v>
                </c:pt>
                <c:pt idx="6">
                  <c:v>Liberecký kraj</c:v>
                </c:pt>
                <c:pt idx="7">
                  <c:v>Jihomoravský kraj</c:v>
                </c:pt>
                <c:pt idx="8">
                  <c:v>Karlovarský kraj</c:v>
                </c:pt>
                <c:pt idx="9">
                  <c:v>Královéhradecký kraj</c:v>
                </c:pt>
                <c:pt idx="10">
                  <c:v>Zlínský kraj</c:v>
                </c:pt>
                <c:pt idx="11">
                  <c:v>Ústecký kraj</c:v>
                </c:pt>
                <c:pt idx="12">
                  <c:v>Moravskoslezský kraj</c:v>
                </c:pt>
                <c:pt idx="13">
                  <c:v>Olomoucký kraj</c:v>
                </c:pt>
                <c:pt idx="14">
                  <c:v>Jihoče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4.550039999999996</c:v>
                </c:pt>
                <c:pt idx="1">
                  <c:v>110.90219999999999</c:v>
                </c:pt>
                <c:pt idx="2">
                  <c:v>123.9819</c:v>
                </c:pt>
                <c:pt idx="3">
                  <c:v>146.14660000000001</c:v>
                </c:pt>
                <c:pt idx="4">
                  <c:v>211.60659999999999</c:v>
                </c:pt>
                <c:pt idx="5">
                  <c:v>160.8134</c:v>
                </c:pt>
                <c:pt idx="6">
                  <c:v>108.1536</c:v>
                </c:pt>
                <c:pt idx="7">
                  <c:v>199.85550000000001</c:v>
                </c:pt>
                <c:pt idx="8">
                  <c:v>73.300349999999995</c:v>
                </c:pt>
                <c:pt idx="9">
                  <c:v>49.394910000000003</c:v>
                </c:pt>
                <c:pt idx="10">
                  <c:v>214.0513</c:v>
                </c:pt>
                <c:pt idx="11">
                  <c:v>203.37100000000001</c:v>
                </c:pt>
                <c:pt idx="12">
                  <c:v>146.7037</c:v>
                </c:pt>
                <c:pt idx="13">
                  <c:v>151.2859</c:v>
                </c:pt>
                <c:pt idx="14">
                  <c:v>155.7632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F-4ABE-BBEB-A66F965F7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13_06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ČR</c:v>
                </c:pt>
                <c:pt idx="4">
                  <c:v>Kraj Vysočina</c:v>
                </c:pt>
                <c:pt idx="5">
                  <c:v>Pardubický kraj</c:v>
                </c:pt>
                <c:pt idx="6">
                  <c:v>Liberecký kraj</c:v>
                </c:pt>
                <c:pt idx="7">
                  <c:v>Jihomoravský kraj</c:v>
                </c:pt>
                <c:pt idx="8">
                  <c:v>Karlovarský kraj</c:v>
                </c:pt>
                <c:pt idx="9">
                  <c:v>Královéhradecký kraj</c:v>
                </c:pt>
                <c:pt idx="10">
                  <c:v>Zlínský kraj</c:v>
                </c:pt>
                <c:pt idx="11">
                  <c:v>Ústecký kraj</c:v>
                </c:pt>
                <c:pt idx="12">
                  <c:v>Moravskoslezský kraj</c:v>
                </c:pt>
                <c:pt idx="13">
                  <c:v>Olomoucký kraj</c:v>
                </c:pt>
                <c:pt idx="14">
                  <c:v>Jihoče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3.941040000000001</c:v>
                </c:pt>
                <c:pt idx="1">
                  <c:v>86.793000000000006</c:v>
                </c:pt>
                <c:pt idx="2">
                  <c:v>26.703800000000001</c:v>
                </c:pt>
                <c:pt idx="3">
                  <c:v>39.83466</c:v>
                </c:pt>
                <c:pt idx="4">
                  <c:v>31.74099</c:v>
                </c:pt>
                <c:pt idx="5">
                  <c:v>20.750119999999999</c:v>
                </c:pt>
                <c:pt idx="6">
                  <c:v>144.20480000000001</c:v>
                </c:pt>
                <c:pt idx="7">
                  <c:v>45.750059999999998</c:v>
                </c:pt>
                <c:pt idx="8">
                  <c:v>9.1625440000000005</c:v>
                </c:pt>
                <c:pt idx="9">
                  <c:v>14.81847</c:v>
                </c:pt>
                <c:pt idx="10">
                  <c:v>28.54017</c:v>
                </c:pt>
                <c:pt idx="11">
                  <c:v>15.4069</c:v>
                </c:pt>
                <c:pt idx="12">
                  <c:v>45.139589999999998</c:v>
                </c:pt>
                <c:pt idx="13">
                  <c:v>8.6449099999999994</c:v>
                </c:pt>
                <c:pt idx="14">
                  <c:v>75.77670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6F-4ABE-BBEB-A66F965F780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C2_07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ČR</c:v>
                </c:pt>
                <c:pt idx="4">
                  <c:v>Kraj Vysočina</c:v>
                </c:pt>
                <c:pt idx="5">
                  <c:v>Pardubický kraj</c:v>
                </c:pt>
                <c:pt idx="6">
                  <c:v>Liberecký kraj</c:v>
                </c:pt>
                <c:pt idx="7">
                  <c:v>Jihomoravský kraj</c:v>
                </c:pt>
                <c:pt idx="8">
                  <c:v>Karlovarský kraj</c:v>
                </c:pt>
                <c:pt idx="9">
                  <c:v>Královéhradecký kraj</c:v>
                </c:pt>
                <c:pt idx="10">
                  <c:v>Zlínský kraj</c:v>
                </c:pt>
                <c:pt idx="11">
                  <c:v>Ústecký kraj</c:v>
                </c:pt>
                <c:pt idx="12">
                  <c:v>Moravskoslezský kraj</c:v>
                </c:pt>
                <c:pt idx="13">
                  <c:v>Olomoucký kraj</c:v>
                </c:pt>
                <c:pt idx="14">
                  <c:v>Jihoče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04.2475</c:v>
                </c:pt>
                <c:pt idx="1">
                  <c:v>57.862000000000002</c:v>
                </c:pt>
                <c:pt idx="2">
                  <c:v>34.333449999999999</c:v>
                </c:pt>
                <c:pt idx="3">
                  <c:v>28.453330000000001</c:v>
                </c:pt>
                <c:pt idx="4">
                  <c:v>5.2901660000000001</c:v>
                </c:pt>
                <c:pt idx="5">
                  <c:v>20.750119999999999</c:v>
                </c:pt>
                <c:pt idx="6">
                  <c:v>72.10239</c:v>
                </c:pt>
                <c:pt idx="7">
                  <c:v>14.44739</c:v>
                </c:pt>
                <c:pt idx="8">
                  <c:v>0</c:v>
                </c:pt>
                <c:pt idx="9">
                  <c:v>4.9394910000000003</c:v>
                </c:pt>
                <c:pt idx="10">
                  <c:v>14.27009</c:v>
                </c:pt>
                <c:pt idx="11">
                  <c:v>12.325519999999999</c:v>
                </c:pt>
                <c:pt idx="12">
                  <c:v>9.0279190000000007</c:v>
                </c:pt>
                <c:pt idx="13">
                  <c:v>4.3224549999999997</c:v>
                </c:pt>
                <c:pt idx="14">
                  <c:v>4.209817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6F-4ABE-BBEB-A66F965F7806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ČR</c:v>
                </c:pt>
                <c:pt idx="4">
                  <c:v>Kraj Vysočina</c:v>
                </c:pt>
                <c:pt idx="5">
                  <c:v>Pardubický kraj</c:v>
                </c:pt>
                <c:pt idx="6">
                  <c:v>Liberecký kraj</c:v>
                </c:pt>
                <c:pt idx="7">
                  <c:v>Jihomoravský kraj</c:v>
                </c:pt>
                <c:pt idx="8">
                  <c:v>Karlovarský kraj</c:v>
                </c:pt>
                <c:pt idx="9">
                  <c:v>Královéhradecký kraj</c:v>
                </c:pt>
                <c:pt idx="10">
                  <c:v>Zlínský kraj</c:v>
                </c:pt>
                <c:pt idx="11">
                  <c:v>Ústecký kraj</c:v>
                </c:pt>
                <c:pt idx="12">
                  <c:v>Moravskoslezský kraj</c:v>
                </c:pt>
                <c:pt idx="13">
                  <c:v>Olomoucký kraj</c:v>
                </c:pt>
                <c:pt idx="14">
                  <c:v>Jihoče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215.768</c:v>
                </c:pt>
                <c:pt idx="1">
                  <c:v>202.517</c:v>
                </c:pt>
                <c:pt idx="2">
                  <c:v>85.833640000000003</c:v>
                </c:pt>
                <c:pt idx="3">
                  <c:v>57.682659999999998</c:v>
                </c:pt>
                <c:pt idx="4">
                  <c:v>42.32132</c:v>
                </c:pt>
                <c:pt idx="5">
                  <c:v>41.500230000000002</c:v>
                </c:pt>
                <c:pt idx="6">
                  <c:v>30.042660000000001</c:v>
                </c:pt>
                <c:pt idx="7">
                  <c:v>21.67108</c:v>
                </c:pt>
                <c:pt idx="8">
                  <c:v>18.325089999999999</c:v>
                </c:pt>
                <c:pt idx="9">
                  <c:v>9.8789820000000006</c:v>
                </c:pt>
                <c:pt idx="10">
                  <c:v>9.5133899999999993</c:v>
                </c:pt>
                <c:pt idx="11">
                  <c:v>9.2441379999999995</c:v>
                </c:pt>
                <c:pt idx="12">
                  <c:v>9.0279190000000007</c:v>
                </c:pt>
                <c:pt idx="13">
                  <c:v>8.6449099999999994</c:v>
                </c:pt>
                <c:pt idx="14">
                  <c:v>8.419634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6F-4ABE-BBEB-A66F965F7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ČR</c:v>
                </c:pt>
                <c:pt idx="4">
                  <c:v>Kraj Vysočina</c:v>
                </c:pt>
                <c:pt idx="5">
                  <c:v>Pardubický kraj</c:v>
                </c:pt>
                <c:pt idx="6">
                  <c:v>Liberecký kraj</c:v>
                </c:pt>
                <c:pt idx="7">
                  <c:v>Jihomoravský kraj</c:v>
                </c:pt>
                <c:pt idx="8">
                  <c:v>Karlovarský kraj</c:v>
                </c:pt>
                <c:pt idx="9">
                  <c:v>Královéhradecký kraj</c:v>
                </c:pt>
                <c:pt idx="10">
                  <c:v>Zlínský kraj</c:v>
                </c:pt>
                <c:pt idx="11">
                  <c:v>Ústecký kraj</c:v>
                </c:pt>
                <c:pt idx="12">
                  <c:v>Moravskoslezský kraj</c:v>
                </c:pt>
                <c:pt idx="13">
                  <c:v>Olomoucký kraj</c:v>
                </c:pt>
                <c:pt idx="14">
                  <c:v>Jihoče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215.768</c:v>
                </c:pt>
                <c:pt idx="1">
                  <c:v>202.517</c:v>
                </c:pt>
                <c:pt idx="2">
                  <c:v>85.833640000000003</c:v>
                </c:pt>
                <c:pt idx="3">
                  <c:v>57.682659999999998</c:v>
                </c:pt>
                <c:pt idx="4">
                  <c:v>42.32132</c:v>
                </c:pt>
                <c:pt idx="5">
                  <c:v>41.500230000000002</c:v>
                </c:pt>
                <c:pt idx="6">
                  <c:v>30.042660000000001</c:v>
                </c:pt>
                <c:pt idx="7">
                  <c:v>21.67108</c:v>
                </c:pt>
                <c:pt idx="8">
                  <c:v>18.325089999999999</c:v>
                </c:pt>
                <c:pt idx="9">
                  <c:v>9.8789820000000006</c:v>
                </c:pt>
                <c:pt idx="10">
                  <c:v>9.5133899999999993</c:v>
                </c:pt>
                <c:pt idx="11">
                  <c:v>9.2441379999999995</c:v>
                </c:pt>
                <c:pt idx="12">
                  <c:v>9.0279190000000007</c:v>
                </c:pt>
                <c:pt idx="13">
                  <c:v>8.6449099999999994</c:v>
                </c:pt>
                <c:pt idx="14">
                  <c:v>8.419634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01_05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Hlavní město Praha</c:v>
                </c:pt>
                <c:pt idx="2">
                  <c:v>Středočeský kraj</c:v>
                </c:pt>
                <c:pt idx="3">
                  <c:v>ČR</c:v>
                </c:pt>
                <c:pt idx="4">
                  <c:v>Kraj Vysočina</c:v>
                </c:pt>
                <c:pt idx="5">
                  <c:v>Moravskoslezský kraj</c:v>
                </c:pt>
                <c:pt idx="6">
                  <c:v>Královéhradecký kraj</c:v>
                </c:pt>
                <c:pt idx="7">
                  <c:v>Ústecký kraj</c:v>
                </c:pt>
                <c:pt idx="8">
                  <c:v>Liberecký kraj</c:v>
                </c:pt>
                <c:pt idx="9">
                  <c:v>Zlínský kraj</c:v>
                </c:pt>
                <c:pt idx="10">
                  <c:v>Pardubický kraj</c:v>
                </c:pt>
                <c:pt idx="11">
                  <c:v>Karlovarský kraj</c:v>
                </c:pt>
                <c:pt idx="12">
                  <c:v>Olomoucký kraj</c:v>
                </c:pt>
                <c:pt idx="13">
                  <c:v>Jihomoravský kraj</c:v>
                </c:pt>
                <c:pt idx="14">
                  <c:v>Jihoče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23.0933</c:v>
                </c:pt>
                <c:pt idx="1">
                  <c:v>120.4766</c:v>
                </c:pt>
                <c:pt idx="2">
                  <c:v>135.77780000000001</c:v>
                </c:pt>
                <c:pt idx="3">
                  <c:v>150.25</c:v>
                </c:pt>
                <c:pt idx="4">
                  <c:v>211.97280000000001</c:v>
                </c:pt>
                <c:pt idx="5">
                  <c:v>171.50489999999999</c:v>
                </c:pt>
                <c:pt idx="6">
                  <c:v>77.297399999999996</c:v>
                </c:pt>
                <c:pt idx="7">
                  <c:v>170.94220000000001</c:v>
                </c:pt>
                <c:pt idx="8">
                  <c:v>125.90900000000001</c:v>
                </c:pt>
                <c:pt idx="9">
                  <c:v>231.77869999999999</c:v>
                </c:pt>
                <c:pt idx="10">
                  <c:v>116.06310000000001</c:v>
                </c:pt>
                <c:pt idx="11">
                  <c:v>49.888579999999997</c:v>
                </c:pt>
                <c:pt idx="12">
                  <c:v>159.38839999999999</c:v>
                </c:pt>
                <c:pt idx="13">
                  <c:v>157.21979999999999</c:v>
                </c:pt>
                <c:pt idx="14">
                  <c:v>205.252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F-4ABE-BBEB-A66F965F7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13_06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Hlavní město Praha</c:v>
                </c:pt>
                <c:pt idx="2">
                  <c:v>Středočeský kraj</c:v>
                </c:pt>
                <c:pt idx="3">
                  <c:v>ČR</c:v>
                </c:pt>
                <c:pt idx="4">
                  <c:v>Kraj Vysočina</c:v>
                </c:pt>
                <c:pt idx="5">
                  <c:v>Moravskoslezský kraj</c:v>
                </c:pt>
                <c:pt idx="6">
                  <c:v>Královéhradecký kraj</c:v>
                </c:pt>
                <c:pt idx="7">
                  <c:v>Ústecký kraj</c:v>
                </c:pt>
                <c:pt idx="8">
                  <c:v>Liberecký kraj</c:v>
                </c:pt>
                <c:pt idx="9">
                  <c:v>Zlínský kraj</c:v>
                </c:pt>
                <c:pt idx="10">
                  <c:v>Pardubický kraj</c:v>
                </c:pt>
                <c:pt idx="11">
                  <c:v>Karlovarský kraj</c:v>
                </c:pt>
                <c:pt idx="12">
                  <c:v>Olomoucký kraj</c:v>
                </c:pt>
                <c:pt idx="13">
                  <c:v>Jihomoravský kraj</c:v>
                </c:pt>
                <c:pt idx="14">
                  <c:v>Jihoče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19.961079999999999</c:v>
                </c:pt>
                <c:pt idx="1">
                  <c:v>33.26041</c:v>
                </c:pt>
                <c:pt idx="2">
                  <c:v>14.83911</c:v>
                </c:pt>
                <c:pt idx="3">
                  <c:v>16.562999999999999</c:v>
                </c:pt>
                <c:pt idx="4">
                  <c:v>12.791460000000001</c:v>
                </c:pt>
                <c:pt idx="5">
                  <c:v>14.22621</c:v>
                </c:pt>
                <c:pt idx="6">
                  <c:v>1.756759</c:v>
                </c:pt>
                <c:pt idx="7">
                  <c:v>5.8143589999999996</c:v>
                </c:pt>
                <c:pt idx="8">
                  <c:v>21.708459999999999</c:v>
                </c:pt>
                <c:pt idx="9">
                  <c:v>8.3373629999999999</c:v>
                </c:pt>
                <c:pt idx="10">
                  <c:v>17.855869999999999</c:v>
                </c:pt>
                <c:pt idx="11">
                  <c:v>6.6518110000000004</c:v>
                </c:pt>
                <c:pt idx="12">
                  <c:v>21.664449999999999</c:v>
                </c:pt>
                <c:pt idx="13">
                  <c:v>10.70082</c:v>
                </c:pt>
                <c:pt idx="14">
                  <c:v>30.184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6F-4ABE-BBEB-A66F965F780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C2_07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Hlavní město Praha</c:v>
                </c:pt>
                <c:pt idx="2">
                  <c:v>Středočeský kraj</c:v>
                </c:pt>
                <c:pt idx="3">
                  <c:v>ČR</c:v>
                </c:pt>
                <c:pt idx="4">
                  <c:v>Kraj Vysočina</c:v>
                </c:pt>
                <c:pt idx="5">
                  <c:v>Moravskoslezský kraj</c:v>
                </c:pt>
                <c:pt idx="6">
                  <c:v>Královéhradecký kraj</c:v>
                </c:pt>
                <c:pt idx="7">
                  <c:v>Ústecký kraj</c:v>
                </c:pt>
                <c:pt idx="8">
                  <c:v>Liberecký kraj</c:v>
                </c:pt>
                <c:pt idx="9">
                  <c:v>Zlínský kraj</c:v>
                </c:pt>
                <c:pt idx="10">
                  <c:v>Pardubický kraj</c:v>
                </c:pt>
                <c:pt idx="11">
                  <c:v>Karlovarský kraj</c:v>
                </c:pt>
                <c:pt idx="12">
                  <c:v>Olomoucký kraj</c:v>
                </c:pt>
                <c:pt idx="13">
                  <c:v>Jihomoravský kraj</c:v>
                </c:pt>
                <c:pt idx="14">
                  <c:v>Jihoče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39.922150000000002</c:v>
                </c:pt>
                <c:pt idx="1">
                  <c:v>90.172659999999993</c:v>
                </c:pt>
                <c:pt idx="2">
                  <c:v>18.54888</c:v>
                </c:pt>
                <c:pt idx="3">
                  <c:v>23.570419999999999</c:v>
                </c:pt>
                <c:pt idx="4">
                  <c:v>14.61881</c:v>
                </c:pt>
                <c:pt idx="5">
                  <c:v>20.548970000000001</c:v>
                </c:pt>
                <c:pt idx="6">
                  <c:v>5.2702770000000001</c:v>
                </c:pt>
                <c:pt idx="7">
                  <c:v>9.302975</c:v>
                </c:pt>
                <c:pt idx="8">
                  <c:v>15.195919999999999</c:v>
                </c:pt>
                <c:pt idx="9">
                  <c:v>10.00484</c:v>
                </c:pt>
                <c:pt idx="10">
                  <c:v>10.713520000000001</c:v>
                </c:pt>
                <c:pt idx="11">
                  <c:v>9.9777159999999991</c:v>
                </c:pt>
                <c:pt idx="12">
                  <c:v>6.1898419999999996</c:v>
                </c:pt>
                <c:pt idx="13">
                  <c:v>9.8776810000000008</c:v>
                </c:pt>
                <c:pt idx="14">
                  <c:v>7.546031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6F-4ABE-BBEB-A66F965F7806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Hlavní město Praha</c:v>
                </c:pt>
                <c:pt idx="2">
                  <c:v>Středočeský kraj</c:v>
                </c:pt>
                <c:pt idx="3">
                  <c:v>ČR</c:v>
                </c:pt>
                <c:pt idx="4">
                  <c:v>Kraj Vysočina</c:v>
                </c:pt>
                <c:pt idx="5">
                  <c:v>Moravskoslezský kraj</c:v>
                </c:pt>
                <c:pt idx="6">
                  <c:v>Královéhradecký kraj</c:v>
                </c:pt>
                <c:pt idx="7">
                  <c:v>Ústecký kraj</c:v>
                </c:pt>
                <c:pt idx="8">
                  <c:v>Liberecký kraj</c:v>
                </c:pt>
                <c:pt idx="9">
                  <c:v>Zlínský kraj</c:v>
                </c:pt>
                <c:pt idx="10">
                  <c:v>Pardubický kraj</c:v>
                </c:pt>
                <c:pt idx="11">
                  <c:v>Karlovarský kraj</c:v>
                </c:pt>
                <c:pt idx="12">
                  <c:v>Olomoucký kraj</c:v>
                </c:pt>
                <c:pt idx="13">
                  <c:v>Jihomoravský kraj</c:v>
                </c:pt>
                <c:pt idx="14">
                  <c:v>Jihoče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39.72749999999999</c:v>
                </c:pt>
                <c:pt idx="1">
                  <c:v>129.346</c:v>
                </c:pt>
                <c:pt idx="2">
                  <c:v>54.904699999999998</c:v>
                </c:pt>
                <c:pt idx="3">
                  <c:v>45.411729999999999</c:v>
                </c:pt>
                <c:pt idx="4">
                  <c:v>42.029089999999997</c:v>
                </c:pt>
                <c:pt idx="5">
                  <c:v>27.66208</c:v>
                </c:pt>
                <c:pt idx="6">
                  <c:v>26.351389999999999</c:v>
                </c:pt>
                <c:pt idx="7">
                  <c:v>24.420310000000001</c:v>
                </c:pt>
                <c:pt idx="8">
                  <c:v>21.708459999999999</c:v>
                </c:pt>
                <c:pt idx="9">
                  <c:v>21.677140000000001</c:v>
                </c:pt>
                <c:pt idx="10">
                  <c:v>17.855869999999999</c:v>
                </c:pt>
                <c:pt idx="11">
                  <c:v>16.629529999999999</c:v>
                </c:pt>
                <c:pt idx="12">
                  <c:v>15.47461</c:v>
                </c:pt>
                <c:pt idx="13">
                  <c:v>13.17024</c:v>
                </c:pt>
                <c:pt idx="14">
                  <c:v>12.07365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6F-4ABE-BBEB-A66F965F7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Hlavní město Praha</c:v>
                </c:pt>
                <c:pt idx="2">
                  <c:v>Středočeský kraj</c:v>
                </c:pt>
                <c:pt idx="3">
                  <c:v>ČR</c:v>
                </c:pt>
                <c:pt idx="4">
                  <c:v>Kraj Vysočina</c:v>
                </c:pt>
                <c:pt idx="5">
                  <c:v>Moravskoslezský kraj</c:v>
                </c:pt>
                <c:pt idx="6">
                  <c:v>Královéhradecký kraj</c:v>
                </c:pt>
                <c:pt idx="7">
                  <c:v>Ústecký kraj</c:v>
                </c:pt>
                <c:pt idx="8">
                  <c:v>Liberecký kraj</c:v>
                </c:pt>
                <c:pt idx="9">
                  <c:v>Zlínský kraj</c:v>
                </c:pt>
                <c:pt idx="10">
                  <c:v>Pardubický kraj</c:v>
                </c:pt>
                <c:pt idx="11">
                  <c:v>Karlovarský kraj</c:v>
                </c:pt>
                <c:pt idx="12">
                  <c:v>Olomoucký kraj</c:v>
                </c:pt>
                <c:pt idx="13">
                  <c:v>Jihomoravský kraj</c:v>
                </c:pt>
                <c:pt idx="14">
                  <c:v>Jihoče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39.72749999999999</c:v>
                </c:pt>
                <c:pt idx="1">
                  <c:v>129.346</c:v>
                </c:pt>
                <c:pt idx="2">
                  <c:v>54.904699999999998</c:v>
                </c:pt>
                <c:pt idx="3">
                  <c:v>45.411729999999999</c:v>
                </c:pt>
                <c:pt idx="4">
                  <c:v>42.029089999999997</c:v>
                </c:pt>
                <c:pt idx="5">
                  <c:v>27.66208</c:v>
                </c:pt>
                <c:pt idx="6">
                  <c:v>26.351389999999999</c:v>
                </c:pt>
                <c:pt idx="7">
                  <c:v>24.420310000000001</c:v>
                </c:pt>
                <c:pt idx="8">
                  <c:v>21.708459999999999</c:v>
                </c:pt>
                <c:pt idx="9">
                  <c:v>21.677140000000001</c:v>
                </c:pt>
                <c:pt idx="10">
                  <c:v>17.855869999999999</c:v>
                </c:pt>
                <c:pt idx="11">
                  <c:v>16.629529999999999</c:v>
                </c:pt>
                <c:pt idx="12">
                  <c:v>15.47461</c:v>
                </c:pt>
                <c:pt idx="13">
                  <c:v>13.17024</c:v>
                </c:pt>
                <c:pt idx="14">
                  <c:v>12.07365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99220866411182E-2"/>
          <c:y val="2.3315360590843423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03 - 23.03</c:v>
                </c:pt>
                <c:pt idx="1">
                  <c:v>24.03 - 30.03</c:v>
                </c:pt>
                <c:pt idx="2">
                  <c:v>31.03 - 06.04</c:v>
                </c:pt>
                <c:pt idx="3">
                  <c:v>07.04 - 13.04</c:v>
                </c:pt>
                <c:pt idx="4">
                  <c:v>14.04 - 20.04</c:v>
                </c:pt>
                <c:pt idx="5">
                  <c:v>21.04 - 27.04</c:v>
                </c:pt>
                <c:pt idx="6">
                  <c:v>28.04 - 04.05</c:v>
                </c:pt>
                <c:pt idx="7">
                  <c:v>05.05 - 11.05</c:v>
                </c:pt>
                <c:pt idx="8">
                  <c:v>12.05 - 18.05</c:v>
                </c:pt>
                <c:pt idx="9">
                  <c:v>19.05 - 25.05</c:v>
                </c:pt>
                <c:pt idx="10">
                  <c:v>26.05 - 01.06</c:v>
                </c:pt>
                <c:pt idx="11">
                  <c:v>02.06 - 08.06</c:v>
                </c:pt>
                <c:pt idx="12">
                  <c:v>09.06 - 15.06</c:v>
                </c:pt>
                <c:pt idx="13">
                  <c:v>16.06 - 22.06</c:v>
                </c:pt>
                <c:pt idx="14">
                  <c:v>23.06 - 29.06</c:v>
                </c:pt>
                <c:pt idx="15">
                  <c:v>30.06 - 06.07</c:v>
                </c:pt>
                <c:pt idx="16">
                  <c:v>07.07 - 13.07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308.49939999999998</c:v>
                </c:pt>
                <c:pt idx="1">
                  <c:v>248.5624</c:v>
                </c:pt>
                <c:pt idx="2">
                  <c:v>164.298</c:v>
                </c:pt>
                <c:pt idx="3">
                  <c:v>158.1279902</c:v>
                </c:pt>
                <c:pt idx="4">
                  <c:v>124.81010000000001</c:v>
                </c:pt>
                <c:pt idx="5">
                  <c:v>96.956959999999995</c:v>
                </c:pt>
                <c:pt idx="6">
                  <c:v>87.613839999999996</c:v>
                </c:pt>
                <c:pt idx="7">
                  <c:v>70.161580000000001</c:v>
                </c:pt>
                <c:pt idx="8">
                  <c:v>52.53304</c:v>
                </c:pt>
                <c:pt idx="9">
                  <c:v>31.20251</c:v>
                </c:pt>
                <c:pt idx="10">
                  <c:v>19.391390000000001</c:v>
                </c:pt>
                <c:pt idx="11">
                  <c:v>11.458550000000001</c:v>
                </c:pt>
                <c:pt idx="12">
                  <c:v>6.3462740000000002</c:v>
                </c:pt>
                <c:pt idx="13">
                  <c:v>3.1731370000000001</c:v>
                </c:pt>
                <c:pt idx="14">
                  <c:v>3.3494220000000001</c:v>
                </c:pt>
                <c:pt idx="15">
                  <c:v>4.0545640000000001</c:v>
                </c:pt>
                <c:pt idx="16">
                  <c:v>5.464846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03 - 23.03</c:v>
                </c:pt>
                <c:pt idx="1">
                  <c:v>24.03 - 30.03</c:v>
                </c:pt>
                <c:pt idx="2">
                  <c:v>31.03 - 06.04</c:v>
                </c:pt>
                <c:pt idx="3">
                  <c:v>07.04 - 13.04</c:v>
                </c:pt>
                <c:pt idx="4">
                  <c:v>14.04 - 20.04</c:v>
                </c:pt>
                <c:pt idx="5">
                  <c:v>21.04 - 27.04</c:v>
                </c:pt>
                <c:pt idx="6">
                  <c:v>28.04 - 04.05</c:v>
                </c:pt>
                <c:pt idx="7">
                  <c:v>05.05 - 11.05</c:v>
                </c:pt>
                <c:pt idx="8">
                  <c:v>12.05 - 18.05</c:v>
                </c:pt>
                <c:pt idx="9">
                  <c:v>19.05 - 25.05</c:v>
                </c:pt>
                <c:pt idx="10">
                  <c:v>26.05 - 01.06</c:v>
                </c:pt>
                <c:pt idx="11">
                  <c:v>02.06 - 08.06</c:v>
                </c:pt>
                <c:pt idx="12">
                  <c:v>09.06 - 15.06</c:v>
                </c:pt>
                <c:pt idx="13">
                  <c:v>16.06 - 22.06</c:v>
                </c:pt>
                <c:pt idx="14">
                  <c:v>23.06 - 29.06</c:v>
                </c:pt>
                <c:pt idx="15">
                  <c:v>30.06 - 06.07</c:v>
                </c:pt>
                <c:pt idx="16">
                  <c:v>07.07 - 13.07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407.95510000000002</c:v>
                </c:pt>
                <c:pt idx="1">
                  <c:v>328.81450000000001</c:v>
                </c:pt>
                <c:pt idx="2">
                  <c:v>199.78919999999999</c:v>
                </c:pt>
                <c:pt idx="3">
                  <c:v>225.9193367</c:v>
                </c:pt>
                <c:pt idx="4">
                  <c:v>181.41059999999999</c:v>
                </c:pt>
                <c:pt idx="5">
                  <c:v>165.5325</c:v>
                </c:pt>
                <c:pt idx="6">
                  <c:v>133.15110000000001</c:v>
                </c:pt>
                <c:pt idx="7">
                  <c:v>96.894019999999998</c:v>
                </c:pt>
                <c:pt idx="8">
                  <c:v>76.139939999999996</c:v>
                </c:pt>
                <c:pt idx="9">
                  <c:v>51.760159999999999</c:v>
                </c:pt>
                <c:pt idx="10">
                  <c:v>37.507359999999998</c:v>
                </c:pt>
                <c:pt idx="11">
                  <c:v>24.129740000000002</c:v>
                </c:pt>
                <c:pt idx="12">
                  <c:v>11.377230000000001</c:v>
                </c:pt>
                <c:pt idx="13">
                  <c:v>6.3762509999999999</c:v>
                </c:pt>
                <c:pt idx="14">
                  <c:v>5.376055</c:v>
                </c:pt>
                <c:pt idx="15">
                  <c:v>6.7513249999999996</c:v>
                </c:pt>
                <c:pt idx="16">
                  <c:v>10.87712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03 - 23.03</c:v>
                </c:pt>
                <c:pt idx="1">
                  <c:v>24.03 - 30.03</c:v>
                </c:pt>
                <c:pt idx="2">
                  <c:v>31.03 - 06.04</c:v>
                </c:pt>
                <c:pt idx="3">
                  <c:v>07.04 - 13.04</c:v>
                </c:pt>
                <c:pt idx="4">
                  <c:v>14.04 - 20.04</c:v>
                </c:pt>
                <c:pt idx="5">
                  <c:v>21.04 - 27.04</c:v>
                </c:pt>
                <c:pt idx="6">
                  <c:v>28.04 - 04.05</c:v>
                </c:pt>
                <c:pt idx="7">
                  <c:v>05.05 - 11.05</c:v>
                </c:pt>
                <c:pt idx="8">
                  <c:v>12.05 - 18.05</c:v>
                </c:pt>
                <c:pt idx="9">
                  <c:v>19.05 - 25.05</c:v>
                </c:pt>
                <c:pt idx="10">
                  <c:v>26.05 - 01.06</c:v>
                </c:pt>
                <c:pt idx="11">
                  <c:v>02.06 - 08.06</c:v>
                </c:pt>
                <c:pt idx="12">
                  <c:v>09.06 - 15.06</c:v>
                </c:pt>
                <c:pt idx="13">
                  <c:v>16.06 - 22.06</c:v>
                </c:pt>
                <c:pt idx="14">
                  <c:v>23.06 - 29.06</c:v>
                </c:pt>
                <c:pt idx="15">
                  <c:v>30.06 - 06.07</c:v>
                </c:pt>
                <c:pt idx="16">
                  <c:v>07.07 - 13.07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553.32429999999999</c:v>
                </c:pt>
                <c:pt idx="1">
                  <c:v>411.93900000000002</c:v>
                </c:pt>
                <c:pt idx="2">
                  <c:v>262.25080000000003</c:v>
                </c:pt>
                <c:pt idx="3">
                  <c:v>289.41294249999999</c:v>
                </c:pt>
                <c:pt idx="4">
                  <c:v>187.52539999999999</c:v>
                </c:pt>
                <c:pt idx="5">
                  <c:v>164.75190000000001</c:v>
                </c:pt>
                <c:pt idx="6">
                  <c:v>135.92920000000001</c:v>
                </c:pt>
                <c:pt idx="7">
                  <c:v>94.889489999999995</c:v>
                </c:pt>
                <c:pt idx="8">
                  <c:v>74.488249999999994</c:v>
                </c:pt>
                <c:pt idx="9">
                  <c:v>53.731169999999999</c:v>
                </c:pt>
                <c:pt idx="10">
                  <c:v>42.81888</c:v>
                </c:pt>
                <c:pt idx="11">
                  <c:v>39.023299999999999</c:v>
                </c:pt>
                <c:pt idx="12">
                  <c:v>25.975999999999999</c:v>
                </c:pt>
                <c:pt idx="13">
                  <c:v>12.098409999999999</c:v>
                </c:pt>
                <c:pt idx="14">
                  <c:v>17.198720000000002</c:v>
                </c:pt>
                <c:pt idx="15">
                  <c:v>21.943190000000001</c:v>
                </c:pt>
                <c:pt idx="16">
                  <c:v>38.43023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0–19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03 - 23.03</c:v>
                </c:pt>
                <c:pt idx="1">
                  <c:v>24.03 - 30.03</c:v>
                </c:pt>
                <c:pt idx="2">
                  <c:v>31.03 - 06.04</c:v>
                </c:pt>
                <c:pt idx="3">
                  <c:v>07.04 - 13.04</c:v>
                </c:pt>
                <c:pt idx="4">
                  <c:v>14.04 - 20.04</c:v>
                </c:pt>
                <c:pt idx="5">
                  <c:v>21.04 - 27.04</c:v>
                </c:pt>
                <c:pt idx="6">
                  <c:v>28.04 - 04.05</c:v>
                </c:pt>
                <c:pt idx="7">
                  <c:v>05.05 - 11.05</c:v>
                </c:pt>
                <c:pt idx="8">
                  <c:v>12.05 - 18.05</c:v>
                </c:pt>
                <c:pt idx="9">
                  <c:v>19.05 - 25.05</c:v>
                </c:pt>
                <c:pt idx="10">
                  <c:v>26.05 - 01.06</c:v>
                </c:pt>
                <c:pt idx="11">
                  <c:v>02.06 - 08.06</c:v>
                </c:pt>
                <c:pt idx="12">
                  <c:v>09.06 - 15.06</c:v>
                </c:pt>
                <c:pt idx="13">
                  <c:v>16.06 - 22.06</c:v>
                </c:pt>
                <c:pt idx="14">
                  <c:v>23.06 - 29.06</c:v>
                </c:pt>
                <c:pt idx="15">
                  <c:v>30.06 - 06.07</c:v>
                </c:pt>
                <c:pt idx="16">
                  <c:v>07.07 - 13.07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437.88069999999999</c:v>
                </c:pt>
                <c:pt idx="1">
                  <c:v>339.92540000000002</c:v>
                </c:pt>
                <c:pt idx="2">
                  <c:v>214.50630000000001</c:v>
                </c:pt>
                <c:pt idx="3">
                  <c:v>232.74006639999999</c:v>
                </c:pt>
                <c:pt idx="4">
                  <c:v>169.21610000000001</c:v>
                </c:pt>
                <c:pt idx="5">
                  <c:v>147.6343</c:v>
                </c:pt>
                <c:pt idx="6">
                  <c:v>122.52330000000001</c:v>
                </c:pt>
                <c:pt idx="7">
                  <c:v>89.268299999999996</c:v>
                </c:pt>
                <c:pt idx="8">
                  <c:v>69.451009999999997</c:v>
                </c:pt>
                <c:pt idx="9">
                  <c:v>47.23574</c:v>
                </c:pt>
                <c:pt idx="10">
                  <c:v>34.883859999999999</c:v>
                </c:pt>
                <c:pt idx="11">
                  <c:v>26.558789999999998</c:v>
                </c:pt>
                <c:pt idx="12">
                  <c:v>15.65476</c:v>
                </c:pt>
                <c:pt idx="13">
                  <c:v>7.7368880000000004</c:v>
                </c:pt>
                <c:pt idx="14">
                  <c:v>9.3657059999999994</c:v>
                </c:pt>
                <c:pt idx="15">
                  <c:v>11.854179999999999</c:v>
                </c:pt>
                <c:pt idx="16">
                  <c:v>19.99827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7.03 - 23.03</c:v>
                </c:pt>
                <c:pt idx="1">
                  <c:v>24.03 - 30.03</c:v>
                </c:pt>
                <c:pt idx="2">
                  <c:v>31.03 - 06.04</c:v>
                </c:pt>
                <c:pt idx="3">
                  <c:v>07.04 - 13.04</c:v>
                </c:pt>
                <c:pt idx="4">
                  <c:v>14.04 - 20.04</c:v>
                </c:pt>
                <c:pt idx="5">
                  <c:v>21.04 - 27.04</c:v>
                </c:pt>
                <c:pt idx="6">
                  <c:v>28.04 - 04.05</c:v>
                </c:pt>
                <c:pt idx="7">
                  <c:v>05.05 - 11.05</c:v>
                </c:pt>
                <c:pt idx="8">
                  <c:v>12.05 - 18.05</c:v>
                </c:pt>
                <c:pt idx="9">
                  <c:v>19.05 - 25.05</c:v>
                </c:pt>
                <c:pt idx="10">
                  <c:v>26.05 - 01.06</c:v>
                </c:pt>
                <c:pt idx="11">
                  <c:v>02.06 - 08.06</c:v>
                </c:pt>
                <c:pt idx="12">
                  <c:v>09.06 - 15.06</c:v>
                </c:pt>
                <c:pt idx="13">
                  <c:v>16.06 - 22.06</c:v>
                </c:pt>
                <c:pt idx="14">
                  <c:v>23.06 - 29.06</c:v>
                </c:pt>
                <c:pt idx="15">
                  <c:v>30.06 - 06.07</c:v>
                </c:pt>
                <c:pt idx="16">
                  <c:v>07.07 - 13.07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555.65539999999999</c:v>
                </c:pt>
                <c:pt idx="1">
                  <c:v>427.68599999999998</c:v>
                </c:pt>
                <c:pt idx="2">
                  <c:v>265.70350000000002</c:v>
                </c:pt>
                <c:pt idx="3">
                  <c:v>273.46860249999997</c:v>
                </c:pt>
                <c:pt idx="4">
                  <c:v>184.3339</c:v>
                </c:pt>
                <c:pt idx="5">
                  <c:v>150.7413</c:v>
                </c:pt>
                <c:pt idx="6">
                  <c:v>123.3066</c:v>
                </c:pt>
                <c:pt idx="7">
                  <c:v>88.069490000000002</c:v>
                </c:pt>
                <c:pt idx="8">
                  <c:v>62.774619999999999</c:v>
                </c:pt>
                <c:pt idx="9">
                  <c:v>37.498449999999998</c:v>
                </c:pt>
                <c:pt idx="10">
                  <c:v>26.341419999999999</c:v>
                </c:pt>
                <c:pt idx="11">
                  <c:v>18.89406</c:v>
                </c:pt>
                <c:pt idx="12">
                  <c:v>10.40949</c:v>
                </c:pt>
                <c:pt idx="13">
                  <c:v>7.2885090000000003</c:v>
                </c:pt>
                <c:pt idx="14">
                  <c:v>7.1203130000000003</c:v>
                </c:pt>
                <c:pt idx="15">
                  <c:v>8.6808010000000007</c:v>
                </c:pt>
                <c:pt idx="16">
                  <c:v>15.651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7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636549528083226"/>
          <c:y val="0.20299240246086112"/>
          <c:w val="0.72027953981972681"/>
          <c:h val="0.7505336593398659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čkovaní dokončeno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7</c:f>
              <c:strCache>
                <c:ptCount val="16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12 a více let CELKEM</c:v>
                </c:pt>
                <c:pt idx="4">
                  <c:v>80 a více let</c:v>
                </c:pt>
                <c:pt idx="5">
                  <c:v>70–79 let</c:v>
                </c:pt>
                <c:pt idx="6">
                  <c:v>65–69 let</c:v>
                </c:pt>
                <c:pt idx="7">
                  <c:v>60–64 let</c:v>
                </c:pt>
                <c:pt idx="8">
                  <c:v>55–59 let</c:v>
                </c:pt>
                <c:pt idx="9">
                  <c:v>50–54 let</c:v>
                </c:pt>
                <c:pt idx="10">
                  <c:v>45–49 let</c:v>
                </c:pt>
                <c:pt idx="11">
                  <c:v>40–44 let</c:v>
                </c:pt>
                <c:pt idx="12">
                  <c:v>35–39 let</c:v>
                </c:pt>
                <c:pt idx="13">
                  <c:v>30–34 let</c:v>
                </c:pt>
                <c:pt idx="14">
                  <c:v>16–29 let</c:v>
                </c:pt>
                <c:pt idx="15">
                  <c:v>do 16 let</c:v>
                </c:pt>
              </c:strCache>
            </c:strRef>
          </c:cat>
          <c:val>
            <c:numRef>
              <c:f>List1!$B$2:$B$17</c:f>
              <c:numCache>
                <c:formatCode>General</c:formatCode>
                <c:ptCount val="16"/>
                <c:pt idx="0">
                  <c:v>37.753590000000003</c:v>
                </c:pt>
                <c:pt idx="1">
                  <c:v>46.480510000000002</c:v>
                </c:pt>
                <c:pt idx="2">
                  <c:v>45.507109999999997</c:v>
                </c:pt>
                <c:pt idx="3">
                  <c:v>43.282769999999999</c:v>
                </c:pt>
                <c:pt idx="4">
                  <c:v>76.433549999999997</c:v>
                </c:pt>
                <c:pt idx="5">
                  <c:v>77.951769999999996</c:v>
                </c:pt>
                <c:pt idx="6">
                  <c:v>70.011359999999996</c:v>
                </c:pt>
                <c:pt idx="7">
                  <c:v>63.338000000000001</c:v>
                </c:pt>
                <c:pt idx="8">
                  <c:v>59.467880000000001</c:v>
                </c:pt>
                <c:pt idx="9">
                  <c:v>55.654240000000001</c:v>
                </c:pt>
                <c:pt idx="10">
                  <c:v>51.40213</c:v>
                </c:pt>
                <c:pt idx="11">
                  <c:v>39.838540000000002</c:v>
                </c:pt>
                <c:pt idx="12">
                  <c:v>24.085830000000001</c:v>
                </c:pt>
                <c:pt idx="13">
                  <c:v>15.330399999999999</c:v>
                </c:pt>
                <c:pt idx="14">
                  <c:v>9.2688129999999997</c:v>
                </c:pt>
                <c:pt idx="15">
                  <c:v>5.484000000000000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6C-43B5-BDA2-1A9D9441837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Očkovaní 1. dávkou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7</c:f>
              <c:strCache>
                <c:ptCount val="16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12 a více let CELKEM</c:v>
                </c:pt>
                <c:pt idx="4">
                  <c:v>80 a více let</c:v>
                </c:pt>
                <c:pt idx="5">
                  <c:v>70–79 let</c:v>
                </c:pt>
                <c:pt idx="6">
                  <c:v>65–69 let</c:v>
                </c:pt>
                <c:pt idx="7">
                  <c:v>60–64 let</c:v>
                </c:pt>
                <c:pt idx="8">
                  <c:v>55–59 let</c:v>
                </c:pt>
                <c:pt idx="9">
                  <c:v>50–54 let</c:v>
                </c:pt>
                <c:pt idx="10">
                  <c:v>45–49 let</c:v>
                </c:pt>
                <c:pt idx="11">
                  <c:v>40–44 let</c:v>
                </c:pt>
                <c:pt idx="12">
                  <c:v>35–39 let</c:v>
                </c:pt>
                <c:pt idx="13">
                  <c:v>30–34 let</c:v>
                </c:pt>
                <c:pt idx="14">
                  <c:v>16–29 let</c:v>
                </c:pt>
                <c:pt idx="15">
                  <c:v>do 16 let</c:v>
                </c:pt>
              </c:strCache>
            </c:strRef>
          </c:cat>
          <c:val>
            <c:numRef>
              <c:f>List1!$C$2:$C$17</c:f>
              <c:numCache>
                <c:formatCode>General</c:formatCode>
                <c:ptCount val="16"/>
                <c:pt idx="0">
                  <c:v>11.92258</c:v>
                </c:pt>
                <c:pt idx="1">
                  <c:v>13.79692</c:v>
                </c:pt>
                <c:pt idx="2">
                  <c:v>14.12191</c:v>
                </c:pt>
                <c:pt idx="3">
                  <c:v>13.668699999999999</c:v>
                </c:pt>
                <c:pt idx="4">
                  <c:v>4.1859019999999996</c:v>
                </c:pt>
                <c:pt idx="5">
                  <c:v>5.4104570000000001</c:v>
                </c:pt>
                <c:pt idx="6">
                  <c:v>7.2215499999999997</c:v>
                </c:pt>
                <c:pt idx="7">
                  <c:v>7.3817079999999997</c:v>
                </c:pt>
                <c:pt idx="8">
                  <c:v>7.5486800000000001</c:v>
                </c:pt>
                <c:pt idx="9">
                  <c:v>8.2424250000000008</c:v>
                </c:pt>
                <c:pt idx="10">
                  <c:v>10.22733</c:v>
                </c:pt>
                <c:pt idx="11">
                  <c:v>14.585459999999999</c:v>
                </c:pt>
                <c:pt idx="12">
                  <c:v>22.1006</c:v>
                </c:pt>
                <c:pt idx="13">
                  <c:v>25.377680000000002</c:v>
                </c:pt>
                <c:pt idx="14">
                  <c:v>27.40709</c:v>
                </c:pt>
                <c:pt idx="15">
                  <c:v>1.215128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6C-43B5-BDA2-1A9D9441837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7</c:f>
              <c:strCache>
                <c:ptCount val="16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12 a více let CELKEM</c:v>
                </c:pt>
                <c:pt idx="4">
                  <c:v>80 a více let</c:v>
                </c:pt>
                <c:pt idx="5">
                  <c:v>70–79 let</c:v>
                </c:pt>
                <c:pt idx="6">
                  <c:v>65–69 let</c:v>
                </c:pt>
                <c:pt idx="7">
                  <c:v>60–64 let</c:v>
                </c:pt>
                <c:pt idx="8">
                  <c:v>55–59 let</c:v>
                </c:pt>
                <c:pt idx="9">
                  <c:v>50–54 let</c:v>
                </c:pt>
                <c:pt idx="10">
                  <c:v>45–49 let</c:v>
                </c:pt>
                <c:pt idx="11">
                  <c:v>40–44 let</c:v>
                </c:pt>
                <c:pt idx="12">
                  <c:v>35–39 let</c:v>
                </c:pt>
                <c:pt idx="13">
                  <c:v>30–34 let</c:v>
                </c:pt>
                <c:pt idx="14">
                  <c:v>16–29 let</c:v>
                </c:pt>
                <c:pt idx="15">
                  <c:v>do 16 let</c:v>
                </c:pt>
              </c:strCache>
            </c:strRef>
          </c:cat>
          <c:val>
            <c:numRef>
              <c:f>List1!$D$2:$D$17</c:f>
              <c:numCache>
                <c:formatCode>General</c:formatCode>
                <c:ptCount val="16"/>
                <c:pt idx="0">
                  <c:v>8.3067419999999998</c:v>
                </c:pt>
                <c:pt idx="1">
                  <c:v>7.8811790000000004</c:v>
                </c:pt>
                <c:pt idx="2">
                  <c:v>7.928299</c:v>
                </c:pt>
                <c:pt idx="3">
                  <c:v>9.5233019999999993</c:v>
                </c:pt>
                <c:pt idx="4">
                  <c:v>4.6102350000000003</c:v>
                </c:pt>
                <c:pt idx="5">
                  <c:v>3.1046499999999999</c:v>
                </c:pt>
                <c:pt idx="6">
                  <c:v>4.1108359999999999</c:v>
                </c:pt>
                <c:pt idx="7">
                  <c:v>5.950933</c:v>
                </c:pt>
                <c:pt idx="8">
                  <c:v>7.9170360000000004</c:v>
                </c:pt>
                <c:pt idx="9">
                  <c:v>8.7535070000000008</c:v>
                </c:pt>
                <c:pt idx="10">
                  <c:v>9.2149660000000004</c:v>
                </c:pt>
                <c:pt idx="11">
                  <c:v>8.9388919999999992</c:v>
                </c:pt>
                <c:pt idx="12">
                  <c:v>9.6628209999999992</c:v>
                </c:pt>
                <c:pt idx="13">
                  <c:v>10.512409999999999</c:v>
                </c:pt>
                <c:pt idx="14">
                  <c:v>10.97916</c:v>
                </c:pt>
                <c:pt idx="15">
                  <c:v>10.14919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6C-43B5-BDA2-1A9D94418370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Mají rezervaci termínu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7</c:f>
              <c:strCache>
                <c:ptCount val="16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12 a více let CELKEM</c:v>
                </c:pt>
                <c:pt idx="4">
                  <c:v>80 a více let</c:v>
                </c:pt>
                <c:pt idx="5">
                  <c:v>70–79 let</c:v>
                </c:pt>
                <c:pt idx="6">
                  <c:v>65–69 let</c:v>
                </c:pt>
                <c:pt idx="7">
                  <c:v>60–64 let</c:v>
                </c:pt>
                <c:pt idx="8">
                  <c:v>55–59 let</c:v>
                </c:pt>
                <c:pt idx="9">
                  <c:v>50–54 let</c:v>
                </c:pt>
                <c:pt idx="10">
                  <c:v>45–49 let</c:v>
                </c:pt>
                <c:pt idx="11">
                  <c:v>40–44 let</c:v>
                </c:pt>
                <c:pt idx="12">
                  <c:v>35–39 let</c:v>
                </c:pt>
                <c:pt idx="13">
                  <c:v>30–34 let</c:v>
                </c:pt>
                <c:pt idx="14">
                  <c:v>16–29 let</c:v>
                </c:pt>
                <c:pt idx="15">
                  <c:v>do 16 let</c:v>
                </c:pt>
              </c:strCache>
            </c:strRef>
          </c:cat>
          <c:val>
            <c:numRef>
              <c:f>List1!$E$2:$E$17</c:f>
              <c:numCache>
                <c:formatCode>General</c:formatCode>
                <c:ptCount val="16"/>
                <c:pt idx="0">
                  <c:v>2.2301250000000001</c:v>
                </c:pt>
                <c:pt idx="1">
                  <c:v>2.2737093000000002</c:v>
                </c:pt>
                <c:pt idx="2">
                  <c:v>2.3770964999999999</c:v>
                </c:pt>
                <c:pt idx="3">
                  <c:v>2.5567369000000002</c:v>
                </c:pt>
                <c:pt idx="4">
                  <c:v>1.6191237999999999</c:v>
                </c:pt>
                <c:pt idx="5">
                  <c:v>1.1179935999999999</c:v>
                </c:pt>
                <c:pt idx="6">
                  <c:v>1.0164808000000001</c:v>
                </c:pt>
                <c:pt idx="7">
                  <c:v>1.2403572</c:v>
                </c:pt>
                <c:pt idx="8">
                  <c:v>1.6270663000000001</c:v>
                </c:pt>
                <c:pt idx="9">
                  <c:v>1.8065846999999999</c:v>
                </c:pt>
                <c:pt idx="10">
                  <c:v>1.9836027000000001</c:v>
                </c:pt>
                <c:pt idx="11">
                  <c:v>2.1758136000000001</c:v>
                </c:pt>
                <c:pt idx="12">
                  <c:v>2.8836734000000002</c:v>
                </c:pt>
                <c:pt idx="13">
                  <c:v>3.4800279999999999</c:v>
                </c:pt>
                <c:pt idx="14">
                  <c:v>4.7479085000000003</c:v>
                </c:pt>
                <c:pt idx="15">
                  <c:v>1.5145922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B6C-43B5-BDA2-1A9D94418370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Registrovaní, čekají na termín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7</c:f>
              <c:strCache>
                <c:ptCount val="16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12 a více let CELKEM</c:v>
                </c:pt>
                <c:pt idx="4">
                  <c:v>80 a více let</c:v>
                </c:pt>
                <c:pt idx="5">
                  <c:v>70–79 let</c:v>
                </c:pt>
                <c:pt idx="6">
                  <c:v>65–69 let</c:v>
                </c:pt>
                <c:pt idx="7">
                  <c:v>60–64 let</c:v>
                </c:pt>
                <c:pt idx="8">
                  <c:v>55–59 let</c:v>
                </c:pt>
                <c:pt idx="9">
                  <c:v>50–54 let</c:v>
                </c:pt>
                <c:pt idx="10">
                  <c:v>45–49 let</c:v>
                </c:pt>
                <c:pt idx="11">
                  <c:v>40–44 let</c:v>
                </c:pt>
                <c:pt idx="12">
                  <c:v>35–39 let</c:v>
                </c:pt>
                <c:pt idx="13">
                  <c:v>30–34 let</c:v>
                </c:pt>
                <c:pt idx="14">
                  <c:v>16–29 let</c:v>
                </c:pt>
                <c:pt idx="15">
                  <c:v>do 16 let</c:v>
                </c:pt>
              </c:strCache>
            </c:strRef>
          </c:cat>
          <c:val>
            <c:numRef>
              <c:f>List1!$F$2:$F$17</c:f>
              <c:numCache>
                <c:formatCode>General</c:formatCode>
                <c:ptCount val="16"/>
                <c:pt idx="0">
                  <c:v>2.7709416999999998</c:v>
                </c:pt>
                <c:pt idx="1">
                  <c:v>3.0357929000000001</c:v>
                </c:pt>
                <c:pt idx="2">
                  <c:v>3.0694002</c:v>
                </c:pt>
                <c:pt idx="3">
                  <c:v>3.1767585999999999</c:v>
                </c:pt>
                <c:pt idx="4">
                  <c:v>6.8780361000000001</c:v>
                </c:pt>
                <c:pt idx="5">
                  <c:v>4.6711312999999999</c:v>
                </c:pt>
                <c:pt idx="6">
                  <c:v>3.2421796999999999</c:v>
                </c:pt>
                <c:pt idx="7">
                  <c:v>2.8367694000000001</c:v>
                </c:pt>
                <c:pt idx="8">
                  <c:v>2.7911123</c:v>
                </c:pt>
                <c:pt idx="9">
                  <c:v>2.5049090000000001</c:v>
                </c:pt>
                <c:pt idx="10">
                  <c:v>2.0922607000000002</c:v>
                </c:pt>
                <c:pt idx="11">
                  <c:v>2.0680136</c:v>
                </c:pt>
                <c:pt idx="12">
                  <c:v>2.1590048999999998</c:v>
                </c:pt>
                <c:pt idx="13">
                  <c:v>2.3950838000000001</c:v>
                </c:pt>
                <c:pt idx="14">
                  <c:v>3.180958</c:v>
                </c:pt>
                <c:pt idx="15">
                  <c:v>1.3178928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5B6C-43B5-BDA2-1A9D94418370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 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7</c:f>
              <c:strCache>
                <c:ptCount val="16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12 a více let CELKEM</c:v>
                </c:pt>
                <c:pt idx="4">
                  <c:v>80 a více let</c:v>
                </c:pt>
                <c:pt idx="5">
                  <c:v>70–79 let</c:v>
                </c:pt>
                <c:pt idx="6">
                  <c:v>65–69 let</c:v>
                </c:pt>
                <c:pt idx="7">
                  <c:v>60–64 let</c:v>
                </c:pt>
                <c:pt idx="8">
                  <c:v>55–59 let</c:v>
                </c:pt>
                <c:pt idx="9">
                  <c:v>50–54 let</c:v>
                </c:pt>
                <c:pt idx="10">
                  <c:v>45–49 let</c:v>
                </c:pt>
                <c:pt idx="11">
                  <c:v>40–44 let</c:v>
                </c:pt>
                <c:pt idx="12">
                  <c:v>35–39 let</c:v>
                </c:pt>
                <c:pt idx="13">
                  <c:v>30–34 let</c:v>
                </c:pt>
                <c:pt idx="14">
                  <c:v>16–29 let</c:v>
                </c:pt>
                <c:pt idx="15">
                  <c:v>do 16 let</c:v>
                </c:pt>
              </c:strCache>
            </c:strRef>
          </c:cat>
          <c:val>
            <c:numRef>
              <c:f>List1!$G$2:$G$17</c:f>
              <c:numCache>
                <c:formatCode>General</c:formatCode>
                <c:ptCount val="16"/>
                <c:pt idx="0">
                  <c:v>37.0160208</c:v>
                </c:pt>
                <c:pt idx="1">
                  <c:v>26.531883300000001</c:v>
                </c:pt>
                <c:pt idx="2">
                  <c:v>26.9961853</c:v>
                </c:pt>
                <c:pt idx="3">
                  <c:v>27.7917317</c:v>
                </c:pt>
                <c:pt idx="4">
                  <c:v>6.2731550800000004</c:v>
                </c:pt>
                <c:pt idx="5">
                  <c:v>7.7440007399999997</c:v>
                </c:pt>
                <c:pt idx="6">
                  <c:v>14.397592</c:v>
                </c:pt>
                <c:pt idx="7">
                  <c:v>19.2522363</c:v>
                </c:pt>
                <c:pt idx="8">
                  <c:v>20.648228499999998</c:v>
                </c:pt>
                <c:pt idx="9">
                  <c:v>23.0383326</c:v>
                </c:pt>
                <c:pt idx="10">
                  <c:v>25.0797089</c:v>
                </c:pt>
                <c:pt idx="11">
                  <c:v>32.393282999999997</c:v>
                </c:pt>
                <c:pt idx="12">
                  <c:v>39.108069700000001</c:v>
                </c:pt>
                <c:pt idx="13">
                  <c:v>42.904395600000001</c:v>
                </c:pt>
                <c:pt idx="14">
                  <c:v>44.4160726</c:v>
                </c:pt>
                <c:pt idx="15">
                  <c:v>85.7977082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13B-470D-A795-D51EE48759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3.5432530918869456E-3"/>
          <c:y val="7.839625914535274E-2"/>
          <c:w val="0.98994552187469609"/>
          <c:h val="4.6791895752454092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737-452E-9903-F3F8D3CFFFD0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Hlavní město Praha</c:v>
                </c:pt>
                <c:pt idx="2">
                  <c:v>Středočeský kraj</c:v>
                </c:pt>
                <c:pt idx="3">
                  <c:v>Pardubický kraj</c:v>
                </c:pt>
                <c:pt idx="4">
                  <c:v>Kraj Vysočina</c:v>
                </c:pt>
                <c:pt idx="5">
                  <c:v>ČR</c:v>
                </c:pt>
                <c:pt idx="6">
                  <c:v>Jihočeský kraj</c:v>
                </c:pt>
                <c:pt idx="7">
                  <c:v>Liberecký kraj</c:v>
                </c:pt>
                <c:pt idx="8">
                  <c:v>Moravskoslezský kraj</c:v>
                </c:pt>
                <c:pt idx="9">
                  <c:v>Zlínský kraj</c:v>
                </c:pt>
                <c:pt idx="10">
                  <c:v>Královéhrad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Jihomorav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.0491999999999998E-2</c:v>
                </c:pt>
                <c:pt idx="1">
                  <c:v>1.4468E-2</c:v>
                </c:pt>
                <c:pt idx="2">
                  <c:v>1.3328E-2</c:v>
                </c:pt>
                <c:pt idx="3">
                  <c:v>1.0707E-2</c:v>
                </c:pt>
                <c:pt idx="4">
                  <c:v>1.0395E-2</c:v>
                </c:pt>
                <c:pt idx="5">
                  <c:v>9.0580000000000001E-3</c:v>
                </c:pt>
                <c:pt idx="6">
                  <c:v>8.1320000000000003E-3</c:v>
                </c:pt>
                <c:pt idx="7">
                  <c:v>7.3159999999999996E-3</c:v>
                </c:pt>
                <c:pt idx="8">
                  <c:v>4.9779999999999998E-3</c:v>
                </c:pt>
                <c:pt idx="9">
                  <c:v>4.8399999999999997E-3</c:v>
                </c:pt>
                <c:pt idx="10">
                  <c:v>4.7809999999999997E-3</c:v>
                </c:pt>
                <c:pt idx="11">
                  <c:v>4.6610000000000002E-3</c:v>
                </c:pt>
                <c:pt idx="12">
                  <c:v>4.5120000000000004E-3</c:v>
                </c:pt>
                <c:pt idx="13">
                  <c:v>3.9360000000000003E-3</c:v>
                </c:pt>
                <c:pt idx="14">
                  <c:v>3.870000000000000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37-452E-9903-F3F8D3CFFF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.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Hlavní město Praha</c:v>
                </c:pt>
                <c:pt idx="2">
                  <c:v>Středočeský kraj</c:v>
                </c:pt>
                <c:pt idx="3">
                  <c:v>Pardubický kraj</c:v>
                </c:pt>
                <c:pt idx="4">
                  <c:v>Kraj Vysočina</c:v>
                </c:pt>
                <c:pt idx="5">
                  <c:v>ČR</c:v>
                </c:pt>
                <c:pt idx="6">
                  <c:v>Jihočeský kraj</c:v>
                </c:pt>
                <c:pt idx="7">
                  <c:v>Liberecký kraj</c:v>
                </c:pt>
                <c:pt idx="8">
                  <c:v>Moravskoslezský kraj</c:v>
                </c:pt>
                <c:pt idx="9">
                  <c:v>Zlínský kraj</c:v>
                </c:pt>
                <c:pt idx="10">
                  <c:v>Královéhrad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Jihomorav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119365</c:v>
                </c:pt>
                <c:pt idx="1">
                  <c:v>8.1277000000000002E-2</c:v>
                </c:pt>
                <c:pt idx="2">
                  <c:v>0.115605</c:v>
                </c:pt>
                <c:pt idx="3">
                  <c:v>0.124206</c:v>
                </c:pt>
                <c:pt idx="4">
                  <c:v>0.159385</c:v>
                </c:pt>
                <c:pt idx="5">
                  <c:v>0.122351</c:v>
                </c:pt>
                <c:pt idx="6">
                  <c:v>0.205483</c:v>
                </c:pt>
                <c:pt idx="7">
                  <c:v>0.13485</c:v>
                </c:pt>
                <c:pt idx="8">
                  <c:v>0.105603</c:v>
                </c:pt>
                <c:pt idx="9">
                  <c:v>0.11206000000000001</c:v>
                </c:pt>
                <c:pt idx="10">
                  <c:v>5.4872999999999998E-2</c:v>
                </c:pt>
                <c:pt idx="11">
                  <c:v>0.22036900000000001</c:v>
                </c:pt>
                <c:pt idx="12">
                  <c:v>0.123117</c:v>
                </c:pt>
                <c:pt idx="13">
                  <c:v>0.132573</c:v>
                </c:pt>
                <c:pt idx="14">
                  <c:v>5.7452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7BF-477D-82C7-C81F3163DE12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Hlavní město Praha</c:v>
                </c:pt>
                <c:pt idx="2">
                  <c:v>Středočeský kraj</c:v>
                </c:pt>
                <c:pt idx="3">
                  <c:v>Pardubický kraj</c:v>
                </c:pt>
                <c:pt idx="4">
                  <c:v>Kraj Vysočina</c:v>
                </c:pt>
                <c:pt idx="5">
                  <c:v>ČR</c:v>
                </c:pt>
                <c:pt idx="6">
                  <c:v>Jihočeský kraj</c:v>
                </c:pt>
                <c:pt idx="7">
                  <c:v>Liberecký kraj</c:v>
                </c:pt>
                <c:pt idx="8">
                  <c:v>Moravskoslezský kraj</c:v>
                </c:pt>
                <c:pt idx="9">
                  <c:v>Zlínský kraj</c:v>
                </c:pt>
                <c:pt idx="10">
                  <c:v>Královéhrad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Jihomorav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5.4398000000000002E-2</c:v>
                </c:pt>
                <c:pt idx="1">
                  <c:v>2.9468999999999999E-2</c:v>
                </c:pt>
                <c:pt idx="2">
                  <c:v>4.4365000000000002E-2</c:v>
                </c:pt>
                <c:pt idx="3">
                  <c:v>4.5310000000000003E-2</c:v>
                </c:pt>
                <c:pt idx="4">
                  <c:v>7.2503999999999999E-2</c:v>
                </c:pt>
                <c:pt idx="5">
                  <c:v>5.1242000000000003E-2</c:v>
                </c:pt>
                <c:pt idx="6">
                  <c:v>9.4952999999999996E-2</c:v>
                </c:pt>
                <c:pt idx="7">
                  <c:v>5.2574000000000003E-2</c:v>
                </c:pt>
                <c:pt idx="8">
                  <c:v>5.1213000000000002E-2</c:v>
                </c:pt>
                <c:pt idx="9">
                  <c:v>5.8774E-2</c:v>
                </c:pt>
                <c:pt idx="10">
                  <c:v>1.7319999999999999E-2</c:v>
                </c:pt>
                <c:pt idx="11">
                  <c:v>8.6882000000000001E-2</c:v>
                </c:pt>
                <c:pt idx="12">
                  <c:v>4.9459999999999997E-2</c:v>
                </c:pt>
                <c:pt idx="13">
                  <c:v>6.4958000000000002E-2</c:v>
                </c:pt>
                <c:pt idx="14">
                  <c:v>1.9886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BF-477D-82C7-C81F3163DE12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Hlavní město Praha</c:v>
                </c:pt>
                <c:pt idx="2">
                  <c:v>Středočeský kraj</c:v>
                </c:pt>
                <c:pt idx="3">
                  <c:v>Pardubický kraj</c:v>
                </c:pt>
                <c:pt idx="4">
                  <c:v>Kraj Vysočina</c:v>
                </c:pt>
                <c:pt idx="5">
                  <c:v>ČR</c:v>
                </c:pt>
                <c:pt idx="6">
                  <c:v>Jihočeský kraj</c:v>
                </c:pt>
                <c:pt idx="7">
                  <c:v>Liberecký kraj</c:v>
                </c:pt>
                <c:pt idx="8">
                  <c:v>Moravskoslezský kraj</c:v>
                </c:pt>
                <c:pt idx="9">
                  <c:v>Zlínský kraj</c:v>
                </c:pt>
                <c:pt idx="10">
                  <c:v>Královéhrad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Jihomorav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2.4569000000000001E-2</c:v>
                </c:pt>
                <c:pt idx="1">
                  <c:v>8.3459999999999993E-3</c:v>
                </c:pt>
                <c:pt idx="2">
                  <c:v>1.1721000000000001E-2</c:v>
                </c:pt>
                <c:pt idx="3">
                  <c:v>9.7699999999999992E-3</c:v>
                </c:pt>
                <c:pt idx="4">
                  <c:v>1.677E-2</c:v>
                </c:pt>
                <c:pt idx="5">
                  <c:v>1.6015999999999999E-2</c:v>
                </c:pt>
                <c:pt idx="6">
                  <c:v>3.0439000000000001E-2</c:v>
                </c:pt>
                <c:pt idx="7">
                  <c:v>2.2044999999999999E-2</c:v>
                </c:pt>
                <c:pt idx="8">
                  <c:v>1.7215999999999999E-2</c:v>
                </c:pt>
                <c:pt idx="9">
                  <c:v>1.9872000000000001E-2</c:v>
                </c:pt>
                <c:pt idx="10">
                  <c:v>6.215E-3</c:v>
                </c:pt>
                <c:pt idx="11">
                  <c:v>3.9800000000000002E-2</c:v>
                </c:pt>
                <c:pt idx="12">
                  <c:v>1.7122999999999999E-2</c:v>
                </c:pt>
                <c:pt idx="13">
                  <c:v>1.8849000000000001E-2</c:v>
                </c:pt>
                <c:pt idx="14">
                  <c:v>5.13599999999999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7BF-477D-82C7-C81F3163DE12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5.6.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Hlavní město Praha</c:v>
                </c:pt>
                <c:pt idx="2">
                  <c:v>Středočeský kraj</c:v>
                </c:pt>
                <c:pt idx="3">
                  <c:v>Pardubický kraj</c:v>
                </c:pt>
                <c:pt idx="4">
                  <c:v>Kraj Vysočina</c:v>
                </c:pt>
                <c:pt idx="5">
                  <c:v>ČR</c:v>
                </c:pt>
                <c:pt idx="6">
                  <c:v>Jihočeský kraj</c:v>
                </c:pt>
                <c:pt idx="7">
                  <c:v>Liberecký kraj</c:v>
                </c:pt>
                <c:pt idx="8">
                  <c:v>Moravskoslezský kraj</c:v>
                </c:pt>
                <c:pt idx="9">
                  <c:v>Zlínský kraj</c:v>
                </c:pt>
                <c:pt idx="10">
                  <c:v>Královéhrad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Jihomorav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3.0491999999999998E-2</c:v>
                </c:pt>
                <c:pt idx="1">
                  <c:v>1.4468E-2</c:v>
                </c:pt>
                <c:pt idx="2">
                  <c:v>1.3328E-2</c:v>
                </c:pt>
                <c:pt idx="3">
                  <c:v>1.0707E-2</c:v>
                </c:pt>
                <c:pt idx="4">
                  <c:v>1.0395E-2</c:v>
                </c:pt>
                <c:pt idx="5">
                  <c:v>9.0580000000000001E-3</c:v>
                </c:pt>
                <c:pt idx="6">
                  <c:v>8.1320000000000003E-3</c:v>
                </c:pt>
                <c:pt idx="7">
                  <c:v>7.3159999999999996E-3</c:v>
                </c:pt>
                <c:pt idx="8">
                  <c:v>4.9779999999999998E-3</c:v>
                </c:pt>
                <c:pt idx="9">
                  <c:v>4.8399999999999997E-3</c:v>
                </c:pt>
                <c:pt idx="10">
                  <c:v>4.7809999999999997E-3</c:v>
                </c:pt>
                <c:pt idx="11">
                  <c:v>4.6610000000000002E-3</c:v>
                </c:pt>
                <c:pt idx="12">
                  <c:v>4.5120000000000004E-3</c:v>
                </c:pt>
                <c:pt idx="13">
                  <c:v>3.9360000000000003E-3</c:v>
                </c:pt>
                <c:pt idx="14">
                  <c:v>3.870000000000000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7BF-477D-82C7-C81F3163DE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5.6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8E-4319-A6B1-3BB003D05972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Hlavní město Praha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ČR</c:v>
                </c:pt>
                <c:pt idx="5">
                  <c:v>Moravskoslezský kraj</c:v>
                </c:pt>
                <c:pt idx="6">
                  <c:v>Pardubický kraj</c:v>
                </c:pt>
                <c:pt idx="7">
                  <c:v>Liberecký kraj</c:v>
                </c:pt>
                <c:pt idx="8">
                  <c:v>Jihočeský kraj</c:v>
                </c:pt>
                <c:pt idx="9">
                  <c:v>Ústecký kraj</c:v>
                </c:pt>
                <c:pt idx="10">
                  <c:v>Olomoucký kraj</c:v>
                </c:pt>
                <c:pt idx="11">
                  <c:v>Jihomoravský kraj</c:v>
                </c:pt>
                <c:pt idx="12">
                  <c:v>Královéhradecký kraj</c:v>
                </c:pt>
                <c:pt idx="13">
                  <c:v>Zlín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5.05818</c:v>
                </c:pt>
                <c:pt idx="1">
                  <c:v>12.658379999999999</c:v>
                </c:pt>
                <c:pt idx="2">
                  <c:v>7.2961530000000003</c:v>
                </c:pt>
                <c:pt idx="3">
                  <c:v>6.4851859999999997</c:v>
                </c:pt>
                <c:pt idx="4">
                  <c:v>5.6626110000000001</c:v>
                </c:pt>
                <c:pt idx="5">
                  <c:v>4.1916979999999997</c:v>
                </c:pt>
                <c:pt idx="6">
                  <c:v>3.6338879999999998</c:v>
                </c:pt>
                <c:pt idx="7">
                  <c:v>3.616015</c:v>
                </c:pt>
                <c:pt idx="8">
                  <c:v>3.1077569999999999</c:v>
                </c:pt>
                <c:pt idx="9">
                  <c:v>3.0599609999999999</c:v>
                </c:pt>
                <c:pt idx="10">
                  <c:v>3.0133760000000001</c:v>
                </c:pt>
                <c:pt idx="11">
                  <c:v>2.4261140000000001</c:v>
                </c:pt>
                <c:pt idx="12">
                  <c:v>2.3601899999999998</c:v>
                </c:pt>
                <c:pt idx="13">
                  <c:v>2.0685410000000002</c:v>
                </c:pt>
                <c:pt idx="14">
                  <c:v>2.04560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8E-4319-A6B1-3BB003D05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Hlavní město Praha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ČR</c:v>
                </c:pt>
                <c:pt idx="5">
                  <c:v>Moravskoslezský kraj</c:v>
                </c:pt>
                <c:pt idx="6">
                  <c:v>Pardubický kraj</c:v>
                </c:pt>
                <c:pt idx="7">
                  <c:v>Liberecký kraj</c:v>
                </c:pt>
                <c:pt idx="8">
                  <c:v>Jihočeský kraj</c:v>
                </c:pt>
                <c:pt idx="9">
                  <c:v>Ústecký kraj</c:v>
                </c:pt>
                <c:pt idx="10">
                  <c:v>Olomoucký kraj</c:v>
                </c:pt>
                <c:pt idx="11">
                  <c:v>Jihomoravský kraj</c:v>
                </c:pt>
                <c:pt idx="12">
                  <c:v>Královéhradecký kraj</c:v>
                </c:pt>
                <c:pt idx="13">
                  <c:v>Zlín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00.839</c:v>
                </c:pt>
                <c:pt idx="1">
                  <c:v>111.3788</c:v>
                </c:pt>
                <c:pt idx="2">
                  <c:v>131.83150000000001</c:v>
                </c:pt>
                <c:pt idx="3">
                  <c:v>156.4306</c:v>
                </c:pt>
                <c:pt idx="4">
                  <c:v>152.93719999999999</c:v>
                </c:pt>
                <c:pt idx="5">
                  <c:v>176.8897</c:v>
                </c:pt>
                <c:pt idx="6">
                  <c:v>186.85830000000001</c:v>
                </c:pt>
                <c:pt idx="7">
                  <c:v>155.0367</c:v>
                </c:pt>
                <c:pt idx="8">
                  <c:v>201.0719</c:v>
                </c:pt>
                <c:pt idx="9">
                  <c:v>202.07980000000001</c:v>
                </c:pt>
                <c:pt idx="10">
                  <c:v>203.3236</c:v>
                </c:pt>
                <c:pt idx="11">
                  <c:v>156.19159999999999</c:v>
                </c:pt>
                <c:pt idx="12">
                  <c:v>60.094079999999998</c:v>
                </c:pt>
                <c:pt idx="13">
                  <c:v>213.57689999999999</c:v>
                </c:pt>
                <c:pt idx="14">
                  <c:v>64.43671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D-4C6E-9F7A-BB34FB4B8147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Hlavní město Praha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ČR</c:v>
                </c:pt>
                <c:pt idx="5">
                  <c:v>Moravskoslezský kraj</c:v>
                </c:pt>
                <c:pt idx="6">
                  <c:v>Pardubický kraj</c:v>
                </c:pt>
                <c:pt idx="7">
                  <c:v>Liberecký kraj</c:v>
                </c:pt>
                <c:pt idx="8">
                  <c:v>Jihočeský kraj</c:v>
                </c:pt>
                <c:pt idx="9">
                  <c:v>Ústecký kraj</c:v>
                </c:pt>
                <c:pt idx="10">
                  <c:v>Olomoucký kraj</c:v>
                </c:pt>
                <c:pt idx="11">
                  <c:v>Jihomoravský kraj</c:v>
                </c:pt>
                <c:pt idx="12">
                  <c:v>Královéhradecký kraj</c:v>
                </c:pt>
                <c:pt idx="13">
                  <c:v>Zlín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29.77797</c:v>
                </c:pt>
                <c:pt idx="1">
                  <c:v>39.473170000000003</c:v>
                </c:pt>
                <c:pt idx="2">
                  <c:v>41.917110000000001</c:v>
                </c:pt>
                <c:pt idx="3">
                  <c:v>59.742319999999999</c:v>
                </c:pt>
                <c:pt idx="4">
                  <c:v>52.533329999999999</c:v>
                </c:pt>
                <c:pt idx="5">
                  <c:v>71.091200000000001</c:v>
                </c:pt>
                <c:pt idx="6">
                  <c:v>42.650370000000002</c:v>
                </c:pt>
                <c:pt idx="7">
                  <c:v>50.17221</c:v>
                </c:pt>
                <c:pt idx="8">
                  <c:v>84.530990000000003</c:v>
                </c:pt>
                <c:pt idx="9">
                  <c:v>66.829539999999994</c:v>
                </c:pt>
                <c:pt idx="10">
                  <c:v>53.130580000000002</c:v>
                </c:pt>
                <c:pt idx="11">
                  <c:v>58.645040000000002</c:v>
                </c:pt>
                <c:pt idx="12">
                  <c:v>17.065989999999999</c:v>
                </c:pt>
                <c:pt idx="13">
                  <c:v>78.94932</c:v>
                </c:pt>
                <c:pt idx="14">
                  <c:v>17.38768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FD-4C6E-9F7A-BB34FB4B8147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Symptomatičtí pozitivní na 100 000 obyvatel za 7 dní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Hlavní město Praha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ČR</c:v>
                </c:pt>
                <c:pt idx="5">
                  <c:v>Moravskoslezský kraj</c:v>
                </c:pt>
                <c:pt idx="6">
                  <c:v>Pardubický kraj</c:v>
                </c:pt>
                <c:pt idx="7">
                  <c:v>Liberecký kraj</c:v>
                </c:pt>
                <c:pt idx="8">
                  <c:v>Jihočeský kraj</c:v>
                </c:pt>
                <c:pt idx="9">
                  <c:v>Ústecký kraj</c:v>
                </c:pt>
                <c:pt idx="10">
                  <c:v>Olomoucký kraj</c:v>
                </c:pt>
                <c:pt idx="11">
                  <c:v>Jihomoravský kraj</c:v>
                </c:pt>
                <c:pt idx="12">
                  <c:v>Královéhradecký kraj</c:v>
                </c:pt>
                <c:pt idx="13">
                  <c:v>Zlín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3.87383</c:v>
                </c:pt>
                <c:pt idx="1">
                  <c:v>14.53092</c:v>
                </c:pt>
                <c:pt idx="2">
                  <c:v>11.731070000000001</c:v>
                </c:pt>
                <c:pt idx="3">
                  <c:v>17.09731</c:v>
                </c:pt>
                <c:pt idx="4">
                  <c:v>17.043900000000001</c:v>
                </c:pt>
                <c:pt idx="5">
                  <c:v>21.126159999999999</c:v>
                </c:pt>
                <c:pt idx="6">
                  <c:v>9.1803480000000004</c:v>
                </c:pt>
                <c:pt idx="7">
                  <c:v>18.75808</c:v>
                </c:pt>
                <c:pt idx="8">
                  <c:v>22.220459999999999</c:v>
                </c:pt>
                <c:pt idx="9">
                  <c:v>21.052530000000001</c:v>
                </c:pt>
                <c:pt idx="10">
                  <c:v>25.534400000000002</c:v>
                </c:pt>
                <c:pt idx="11">
                  <c:v>18.237690000000001</c:v>
                </c:pt>
                <c:pt idx="12">
                  <c:v>5.446593</c:v>
                </c:pt>
                <c:pt idx="13">
                  <c:v>30.166219999999999</c:v>
                </c:pt>
                <c:pt idx="14">
                  <c:v>4.4321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FD-4C6E-9F7A-BB34FB4B8147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5.6.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Hlavní město Praha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ČR</c:v>
                </c:pt>
                <c:pt idx="5">
                  <c:v>Moravskoslezský kraj</c:v>
                </c:pt>
                <c:pt idx="6">
                  <c:v>Pardubický kraj</c:v>
                </c:pt>
                <c:pt idx="7">
                  <c:v>Liberecký kraj</c:v>
                </c:pt>
                <c:pt idx="8">
                  <c:v>Jihočeský kraj</c:v>
                </c:pt>
                <c:pt idx="9">
                  <c:v>Ústecký kraj</c:v>
                </c:pt>
                <c:pt idx="10">
                  <c:v>Olomoucký kraj</c:v>
                </c:pt>
                <c:pt idx="11">
                  <c:v>Jihomoravský kraj</c:v>
                </c:pt>
                <c:pt idx="12">
                  <c:v>Královéhradecký kraj</c:v>
                </c:pt>
                <c:pt idx="13">
                  <c:v>Zlín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5.05818</c:v>
                </c:pt>
                <c:pt idx="1">
                  <c:v>12.658379999999999</c:v>
                </c:pt>
                <c:pt idx="2">
                  <c:v>7.2961530000000003</c:v>
                </c:pt>
                <c:pt idx="3">
                  <c:v>6.4851859999999997</c:v>
                </c:pt>
                <c:pt idx="4">
                  <c:v>5.6626110000000001</c:v>
                </c:pt>
                <c:pt idx="5">
                  <c:v>4.1916979999999997</c:v>
                </c:pt>
                <c:pt idx="6">
                  <c:v>3.6338879999999998</c:v>
                </c:pt>
                <c:pt idx="7">
                  <c:v>3.616015</c:v>
                </c:pt>
                <c:pt idx="8">
                  <c:v>3.1077569999999999</c:v>
                </c:pt>
                <c:pt idx="9">
                  <c:v>3.0599609999999999</c:v>
                </c:pt>
                <c:pt idx="10">
                  <c:v>3.0133760000000001</c:v>
                </c:pt>
                <c:pt idx="11">
                  <c:v>2.4261140000000001</c:v>
                </c:pt>
                <c:pt idx="12">
                  <c:v>2.3601899999999998</c:v>
                </c:pt>
                <c:pt idx="13">
                  <c:v>2.0685410000000002</c:v>
                </c:pt>
                <c:pt idx="14">
                  <c:v>2.04560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5AA-41EA-9F16-8BB4B107D4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5.6.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Pt>
            <c:idx val="3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AA89-4CE0-A734-71837139C0C7}"/>
              </c:ext>
            </c:extLst>
          </c:dPt>
          <c:dPt>
            <c:idx val="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A89-4CE0-A734-71837139C0C7}"/>
              </c:ext>
            </c:extLst>
          </c:dPt>
          <c:dPt>
            <c:idx val="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D8B0-4D33-B12C-8C4CD8438033}"/>
              </c:ext>
            </c:extLst>
          </c:dPt>
          <c:dPt>
            <c:idx val="6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AA89-4CE0-A734-71837139C0C7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A89-4CE0-A734-71837139C0C7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2B8F-431B-B6A1-9498F275B175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2B8F-431B-B6A1-9498F275B175}"/>
              </c:ext>
            </c:extLst>
          </c:dPt>
          <c:dPt>
            <c:idx val="1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2B8F-431B-B6A1-9498F275B175}"/>
              </c:ext>
            </c:extLst>
          </c:dPt>
          <c:dPt>
            <c:idx val="1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2B8F-431B-B6A1-9498F275B175}"/>
              </c:ext>
            </c:extLst>
          </c:dPt>
          <c:dPt>
            <c:idx val="12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2B8F-431B-B6A1-9498F275B175}"/>
              </c:ext>
            </c:extLst>
          </c:dPt>
          <c:dPt>
            <c:idx val="13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2B8F-431B-B6A1-9498F275B175}"/>
              </c:ext>
            </c:extLst>
          </c:dPt>
          <c:dPt>
            <c:idx val="1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2B8F-431B-B6A1-9498F275B175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Plzeň-sever</c:v>
                </c:pt>
                <c:pt idx="1">
                  <c:v>Rokycany</c:v>
                </c:pt>
                <c:pt idx="2">
                  <c:v>Plzeň-město</c:v>
                </c:pt>
                <c:pt idx="3">
                  <c:v>Praha</c:v>
                </c:pt>
                <c:pt idx="4">
                  <c:v>Praha-západ</c:v>
                </c:pt>
                <c:pt idx="5">
                  <c:v>Plzeň-jih</c:v>
                </c:pt>
                <c:pt idx="6">
                  <c:v>Pardubice</c:v>
                </c:pt>
                <c:pt idx="7">
                  <c:v>Beroun</c:v>
                </c:pt>
                <c:pt idx="8">
                  <c:v>Prachatice</c:v>
                </c:pt>
                <c:pt idx="9">
                  <c:v>Benešov</c:v>
                </c:pt>
                <c:pt idx="10">
                  <c:v>Mělník</c:v>
                </c:pt>
                <c:pt idx="11">
                  <c:v>Praha-východ</c:v>
                </c:pt>
                <c:pt idx="12">
                  <c:v>Havlíčkův Brod</c:v>
                </c:pt>
                <c:pt idx="13">
                  <c:v>Třebíč</c:v>
                </c:pt>
                <c:pt idx="14">
                  <c:v>Kladno</c:v>
                </c:pt>
                <c:pt idx="15">
                  <c:v>Žďár nad Sázavou</c:v>
                </c:pt>
                <c:pt idx="16">
                  <c:v>Nymburk</c:v>
                </c:pt>
                <c:pt idx="17">
                  <c:v>Mladá Boleslav</c:v>
                </c:pt>
                <c:pt idx="18">
                  <c:v>Svitavy</c:v>
                </c:pt>
                <c:pt idx="19">
                  <c:v>Kutná Hora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58.261330000000001</c:v>
                </c:pt>
                <c:pt idx="1">
                  <c:v>54.557580000000002</c:v>
                </c:pt>
                <c:pt idx="2">
                  <c:v>53.377130000000001</c:v>
                </c:pt>
                <c:pt idx="3">
                  <c:v>42.469239999999999</c:v>
                </c:pt>
                <c:pt idx="4">
                  <c:v>41.369799999999998</c:v>
                </c:pt>
                <c:pt idx="5">
                  <c:v>37.073480000000004</c:v>
                </c:pt>
                <c:pt idx="6">
                  <c:v>27.81925</c:v>
                </c:pt>
                <c:pt idx="7">
                  <c:v>23.858180000000001</c:v>
                </c:pt>
                <c:pt idx="8">
                  <c:v>23.631820000000001</c:v>
                </c:pt>
                <c:pt idx="9">
                  <c:v>23.05949</c:v>
                </c:pt>
                <c:pt idx="10">
                  <c:v>22.729959999999998</c:v>
                </c:pt>
                <c:pt idx="11">
                  <c:v>21.170850000000002</c:v>
                </c:pt>
                <c:pt idx="12">
                  <c:v>21.13897</c:v>
                </c:pt>
                <c:pt idx="13">
                  <c:v>20.845230000000001</c:v>
                </c:pt>
                <c:pt idx="14">
                  <c:v>19.179480000000002</c:v>
                </c:pt>
                <c:pt idx="15">
                  <c:v>18.653390000000002</c:v>
                </c:pt>
                <c:pt idx="16">
                  <c:v>17.727180000000001</c:v>
                </c:pt>
                <c:pt idx="17">
                  <c:v>16.788509999999999</c:v>
                </c:pt>
                <c:pt idx="18">
                  <c:v>15.38462</c:v>
                </c:pt>
                <c:pt idx="19">
                  <c:v>14.414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15673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70862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84881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30871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97549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25310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9957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7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8.png"/><Relationship Id="rId5" Type="http://schemas.openxmlformats.org/officeDocument/2006/relationships/image" Target="../media/image4.svg"/><Relationship Id="rId4" Type="http://schemas.openxmlformats.org/officeDocument/2006/relationships/image" Target="../media/image12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8.png"/><Relationship Id="rId5" Type="http://schemas.openxmlformats.org/officeDocument/2006/relationships/image" Target="../media/image4.svg"/><Relationship Id="rId4" Type="http://schemas.openxmlformats.org/officeDocument/2006/relationships/image" Target="../media/image12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8.png"/><Relationship Id="rId5" Type="http://schemas.openxmlformats.org/officeDocument/2006/relationships/image" Target="../media/image4.svg"/><Relationship Id="rId4" Type="http://schemas.openxmlformats.org/officeDocument/2006/relationships/image" Target="../media/image12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8.png"/><Relationship Id="rId5" Type="http://schemas.openxmlformats.org/officeDocument/2006/relationships/image" Target="../media/image4.svg"/><Relationship Id="rId4" Type="http://schemas.openxmlformats.org/officeDocument/2006/relationships/image" Target="../media/image12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7.sv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7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3.png"/><Relationship Id="rId5" Type="http://schemas.openxmlformats.org/officeDocument/2006/relationships/image" Target="../media/image4.svg"/><Relationship Id="rId4" Type="http://schemas.openxmlformats.org/officeDocument/2006/relationships/image" Target="../media/image12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3.png"/><Relationship Id="rId5" Type="http://schemas.openxmlformats.org/officeDocument/2006/relationships/image" Target="../media/image4.svg"/><Relationship Id="rId4" Type="http://schemas.openxmlformats.org/officeDocument/2006/relationships/image" Target="../media/image12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3.png"/><Relationship Id="rId5" Type="http://schemas.openxmlformats.org/officeDocument/2006/relationships/image" Target="../media/image4.svg"/><Relationship Id="rId4" Type="http://schemas.openxmlformats.org/officeDocument/2006/relationships/image" Target="../media/image12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3.png"/><Relationship Id="rId5" Type="http://schemas.openxmlformats.org/officeDocument/2006/relationships/image" Target="../media/image4.svg"/><Relationship Id="rId4" Type="http://schemas.openxmlformats.org/officeDocument/2006/relationships/image" Target="../media/image12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7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38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12582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15191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6112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8940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41965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539312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96725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44533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2128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2271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790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6813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187845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33456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1948659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75229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07353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3893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5209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3461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1197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633378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39283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49465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9917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921697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14517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80399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609418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316572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8142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45671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8042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658761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49003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093552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945176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17169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43224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538713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4778265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74514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47053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757571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11258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789174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6215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557196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51909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9238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91055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image" Target="../media/image4.svg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48.xml"/><Relationship Id="rId15" Type="http://schemas.openxmlformats.org/officeDocument/2006/relationships/image" Target="../media/image7.svg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851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874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15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91825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88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28498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9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61433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5" r:id="rId7"/>
    <p:sldLayoutId id="2147483912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024869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  <p:sldLayoutId id="2147483903" r:id="rId9"/>
    <p:sldLayoutId id="2147483904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148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26" Type="http://schemas.openxmlformats.org/officeDocument/2006/relationships/image" Target="../media/image18.png"/><Relationship Id="rId3" Type="http://schemas.openxmlformats.org/officeDocument/2006/relationships/tags" Target="../tags/tag35.xml"/><Relationship Id="rId21" Type="http://schemas.openxmlformats.org/officeDocument/2006/relationships/tags" Target="../tags/tag53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5" Type="http://schemas.openxmlformats.org/officeDocument/2006/relationships/slideLayout" Target="../slideLayouts/slideLayout18.xml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20" Type="http://schemas.openxmlformats.org/officeDocument/2006/relationships/tags" Target="../tags/tag52.xml"/><Relationship Id="rId29" Type="http://schemas.openxmlformats.org/officeDocument/2006/relationships/image" Target="../media/image21.png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24" Type="http://schemas.openxmlformats.org/officeDocument/2006/relationships/tags" Target="../tags/tag56.xml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23" Type="http://schemas.openxmlformats.org/officeDocument/2006/relationships/tags" Target="../tags/tag55.xml"/><Relationship Id="rId28" Type="http://schemas.openxmlformats.org/officeDocument/2006/relationships/image" Target="../media/image20.png"/><Relationship Id="rId10" Type="http://schemas.openxmlformats.org/officeDocument/2006/relationships/tags" Target="../tags/tag42.xml"/><Relationship Id="rId19" Type="http://schemas.openxmlformats.org/officeDocument/2006/relationships/tags" Target="../tags/tag51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tags" Target="../tags/tag54.xml"/><Relationship Id="rId27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18" Type="http://schemas.openxmlformats.org/officeDocument/2006/relationships/tags" Target="../tags/tag74.xml"/><Relationship Id="rId26" Type="http://schemas.openxmlformats.org/officeDocument/2006/relationships/image" Target="../media/image22.png"/><Relationship Id="rId3" Type="http://schemas.openxmlformats.org/officeDocument/2006/relationships/tags" Target="../tags/tag59.xml"/><Relationship Id="rId21" Type="http://schemas.openxmlformats.org/officeDocument/2006/relationships/tags" Target="../tags/tag77.xm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tags" Target="../tags/tag73.xml"/><Relationship Id="rId25" Type="http://schemas.openxmlformats.org/officeDocument/2006/relationships/slideLayout" Target="../slideLayouts/slideLayout18.xml"/><Relationship Id="rId2" Type="http://schemas.openxmlformats.org/officeDocument/2006/relationships/tags" Target="../tags/tag58.xml"/><Relationship Id="rId16" Type="http://schemas.openxmlformats.org/officeDocument/2006/relationships/tags" Target="../tags/tag72.xml"/><Relationship Id="rId20" Type="http://schemas.openxmlformats.org/officeDocument/2006/relationships/tags" Target="../tags/tag76.xml"/><Relationship Id="rId29" Type="http://schemas.openxmlformats.org/officeDocument/2006/relationships/image" Target="../media/image25.png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24" Type="http://schemas.openxmlformats.org/officeDocument/2006/relationships/tags" Target="../tags/tag80.xml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23" Type="http://schemas.openxmlformats.org/officeDocument/2006/relationships/tags" Target="../tags/tag79.xml"/><Relationship Id="rId28" Type="http://schemas.openxmlformats.org/officeDocument/2006/relationships/image" Target="../media/image24.png"/><Relationship Id="rId10" Type="http://schemas.openxmlformats.org/officeDocument/2006/relationships/tags" Target="../tags/tag66.xml"/><Relationship Id="rId19" Type="http://schemas.openxmlformats.org/officeDocument/2006/relationships/tags" Target="../tags/tag75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Relationship Id="rId22" Type="http://schemas.openxmlformats.org/officeDocument/2006/relationships/tags" Target="../tags/tag78.xml"/><Relationship Id="rId27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3.xml"/><Relationship Id="rId4" Type="http://schemas.openxmlformats.org/officeDocument/2006/relationships/tags" Target="../tags/tag8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2" Type="http://schemas.openxmlformats.org/officeDocument/2006/relationships/tags" Target="../tags/tag88.xml"/><Relationship Id="rId16" Type="http://schemas.openxmlformats.org/officeDocument/2006/relationships/chart" Target="../charts/chart6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5" Type="http://schemas.openxmlformats.org/officeDocument/2006/relationships/tags" Target="../tags/tag91.xml"/><Relationship Id="rId15" Type="http://schemas.openxmlformats.org/officeDocument/2006/relationships/chart" Target="../charts/chart5.xml"/><Relationship Id="rId10" Type="http://schemas.openxmlformats.org/officeDocument/2006/relationships/tags" Target="../tags/tag96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slideLayout" Target="../slideLayouts/slideLayout3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chart" Target="../charts/chart8.xml"/><Relationship Id="rId2" Type="http://schemas.openxmlformats.org/officeDocument/2006/relationships/tags" Target="../tags/tag101.xml"/><Relationship Id="rId16" Type="http://schemas.openxmlformats.org/officeDocument/2006/relationships/chart" Target="../charts/chart7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slideLayout" Target="../slideLayouts/slideLayout32.xml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2" Type="http://schemas.openxmlformats.org/officeDocument/2006/relationships/tags" Target="../tags/tag115.xml"/><Relationship Id="rId16" Type="http://schemas.openxmlformats.org/officeDocument/2006/relationships/chart" Target="../charts/chart10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chart" Target="../charts/chart9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12" Type="http://schemas.openxmlformats.org/officeDocument/2006/relationships/chart" Target="../charts/chart1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chart" Target="../charts/chart12.xml"/><Relationship Id="rId5" Type="http://schemas.openxmlformats.org/officeDocument/2006/relationships/tags" Target="../tags/tag131.xml"/><Relationship Id="rId10" Type="http://schemas.openxmlformats.org/officeDocument/2006/relationships/chart" Target="../charts/chart11.xml"/><Relationship Id="rId4" Type="http://schemas.openxmlformats.org/officeDocument/2006/relationships/tags" Target="../tags/tag130.xml"/><Relationship Id="rId9" Type="http://schemas.openxmlformats.org/officeDocument/2006/relationships/slideLayout" Target="../slideLayouts/slideLayout3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13" Type="http://schemas.openxmlformats.org/officeDocument/2006/relationships/image" Target="../media/image26.png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12" Type="http://schemas.openxmlformats.org/officeDocument/2006/relationships/notesSlide" Target="../notesSlides/notesSlide5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tags" Target="../tags/tag140.xml"/><Relationship Id="rId11" Type="http://schemas.openxmlformats.org/officeDocument/2006/relationships/slideLayout" Target="../slideLayouts/slideLayout32.xml"/><Relationship Id="rId5" Type="http://schemas.openxmlformats.org/officeDocument/2006/relationships/tags" Target="../tags/tag139.xml"/><Relationship Id="rId10" Type="http://schemas.openxmlformats.org/officeDocument/2006/relationships/tags" Target="../tags/tag144.xml"/><Relationship Id="rId4" Type="http://schemas.openxmlformats.org/officeDocument/2006/relationships/tags" Target="../tags/tag138.xml"/><Relationship Id="rId9" Type="http://schemas.openxmlformats.org/officeDocument/2006/relationships/tags" Target="../tags/tag14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52.xml"/><Relationship Id="rId13" Type="http://schemas.openxmlformats.org/officeDocument/2006/relationships/slideLayout" Target="../slideLayouts/slideLayout32.xml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12" Type="http://schemas.openxmlformats.org/officeDocument/2006/relationships/tags" Target="../tags/tag156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11" Type="http://schemas.openxmlformats.org/officeDocument/2006/relationships/tags" Target="../tags/tag155.xml"/><Relationship Id="rId5" Type="http://schemas.openxmlformats.org/officeDocument/2006/relationships/tags" Target="../tags/tag149.xml"/><Relationship Id="rId10" Type="http://schemas.openxmlformats.org/officeDocument/2006/relationships/tags" Target="../tags/tag154.xml"/><Relationship Id="rId4" Type="http://schemas.openxmlformats.org/officeDocument/2006/relationships/tags" Target="../tags/tag148.xml"/><Relationship Id="rId9" Type="http://schemas.openxmlformats.org/officeDocument/2006/relationships/tags" Target="../tags/tag153.xml"/><Relationship Id="rId14" Type="http://schemas.openxmlformats.org/officeDocument/2006/relationships/image" Target="../media/image2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7" Type="http://schemas.openxmlformats.org/officeDocument/2006/relationships/chart" Target="../charts/chart14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61.xml"/><Relationship Id="rId4" Type="http://schemas.openxmlformats.org/officeDocument/2006/relationships/tags" Target="../tags/tag160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10" Type="http://schemas.openxmlformats.org/officeDocument/2006/relationships/notesSlide" Target="../notesSlides/notesSlide6.xml"/><Relationship Id="rId4" Type="http://schemas.openxmlformats.org/officeDocument/2006/relationships/tags" Target="../tags/tag165.xml"/><Relationship Id="rId9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78.xml"/><Relationship Id="rId3" Type="http://schemas.openxmlformats.org/officeDocument/2006/relationships/tags" Target="../tags/tag173.xml"/><Relationship Id="rId7" Type="http://schemas.openxmlformats.org/officeDocument/2006/relationships/tags" Target="../tags/tag177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6" Type="http://schemas.openxmlformats.org/officeDocument/2006/relationships/tags" Target="../tags/tag176.xml"/><Relationship Id="rId11" Type="http://schemas.openxmlformats.org/officeDocument/2006/relationships/chart" Target="../charts/chart15.xml"/><Relationship Id="rId5" Type="http://schemas.openxmlformats.org/officeDocument/2006/relationships/tags" Target="../tags/tag175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174.xml"/><Relationship Id="rId9" Type="http://schemas.openxmlformats.org/officeDocument/2006/relationships/tags" Target="../tags/tag179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187.xml"/><Relationship Id="rId3" Type="http://schemas.openxmlformats.org/officeDocument/2006/relationships/tags" Target="../tags/tag182.xml"/><Relationship Id="rId7" Type="http://schemas.openxmlformats.org/officeDocument/2006/relationships/tags" Target="../tags/tag186.xml"/><Relationship Id="rId12" Type="http://schemas.openxmlformats.org/officeDocument/2006/relationships/chart" Target="../charts/chart16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tags" Target="../tags/tag185.xml"/><Relationship Id="rId11" Type="http://schemas.openxmlformats.org/officeDocument/2006/relationships/slideLayout" Target="../slideLayouts/slideLayout18.xml"/><Relationship Id="rId5" Type="http://schemas.openxmlformats.org/officeDocument/2006/relationships/tags" Target="../tags/tag184.xml"/><Relationship Id="rId10" Type="http://schemas.openxmlformats.org/officeDocument/2006/relationships/tags" Target="../tags/tag189.xml"/><Relationship Id="rId4" Type="http://schemas.openxmlformats.org/officeDocument/2006/relationships/tags" Target="../tags/tag183.xml"/><Relationship Id="rId9" Type="http://schemas.openxmlformats.org/officeDocument/2006/relationships/tags" Target="../tags/tag18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chart" Target="../charts/chart17.xml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4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7" Type="http://schemas.openxmlformats.org/officeDocument/2006/relationships/chart" Target="../charts/chart18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48.xml"/><Relationship Id="rId4" Type="http://schemas.openxmlformats.org/officeDocument/2006/relationships/tags" Target="../tags/tag19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chart" Target="../charts/char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13" Type="http://schemas.openxmlformats.org/officeDocument/2006/relationships/tags" Target="../tags/tag209.xml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12" Type="http://schemas.openxmlformats.org/officeDocument/2006/relationships/tags" Target="../tags/tag208.xml"/><Relationship Id="rId2" Type="http://schemas.openxmlformats.org/officeDocument/2006/relationships/tags" Target="../tags/tag198.xml"/><Relationship Id="rId16" Type="http://schemas.openxmlformats.org/officeDocument/2006/relationships/chart" Target="../charts/chart20.xml"/><Relationship Id="rId1" Type="http://schemas.openxmlformats.org/officeDocument/2006/relationships/tags" Target="../tags/tag197.xml"/><Relationship Id="rId6" Type="http://schemas.openxmlformats.org/officeDocument/2006/relationships/tags" Target="../tags/tag202.xml"/><Relationship Id="rId11" Type="http://schemas.openxmlformats.org/officeDocument/2006/relationships/tags" Target="../tags/tag207.xml"/><Relationship Id="rId5" Type="http://schemas.openxmlformats.org/officeDocument/2006/relationships/tags" Target="../tags/tag201.xml"/><Relationship Id="rId15" Type="http://schemas.openxmlformats.org/officeDocument/2006/relationships/chart" Target="../charts/chart19.xml"/><Relationship Id="rId10" Type="http://schemas.openxmlformats.org/officeDocument/2006/relationships/tags" Target="../tags/tag206.xml"/><Relationship Id="rId4" Type="http://schemas.openxmlformats.org/officeDocument/2006/relationships/tags" Target="../tags/tag200.xml"/><Relationship Id="rId9" Type="http://schemas.openxmlformats.org/officeDocument/2006/relationships/tags" Target="../tags/tag205.xml"/><Relationship Id="rId14" Type="http://schemas.openxmlformats.org/officeDocument/2006/relationships/slideLayout" Target="../slideLayouts/slideLayout3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217.xml"/><Relationship Id="rId13" Type="http://schemas.openxmlformats.org/officeDocument/2006/relationships/tags" Target="../tags/tag222.xml"/><Relationship Id="rId3" Type="http://schemas.openxmlformats.org/officeDocument/2006/relationships/tags" Target="../tags/tag212.xml"/><Relationship Id="rId7" Type="http://schemas.openxmlformats.org/officeDocument/2006/relationships/tags" Target="../tags/tag216.xml"/><Relationship Id="rId12" Type="http://schemas.openxmlformats.org/officeDocument/2006/relationships/tags" Target="../tags/tag221.xml"/><Relationship Id="rId2" Type="http://schemas.openxmlformats.org/officeDocument/2006/relationships/tags" Target="../tags/tag211.xml"/><Relationship Id="rId16" Type="http://schemas.openxmlformats.org/officeDocument/2006/relationships/chart" Target="../charts/chart22.xml"/><Relationship Id="rId1" Type="http://schemas.openxmlformats.org/officeDocument/2006/relationships/tags" Target="../tags/tag210.xml"/><Relationship Id="rId6" Type="http://schemas.openxmlformats.org/officeDocument/2006/relationships/tags" Target="../tags/tag215.xml"/><Relationship Id="rId11" Type="http://schemas.openxmlformats.org/officeDocument/2006/relationships/tags" Target="../tags/tag220.xml"/><Relationship Id="rId5" Type="http://schemas.openxmlformats.org/officeDocument/2006/relationships/tags" Target="../tags/tag214.xml"/><Relationship Id="rId15" Type="http://schemas.openxmlformats.org/officeDocument/2006/relationships/chart" Target="../charts/chart21.xml"/><Relationship Id="rId10" Type="http://schemas.openxmlformats.org/officeDocument/2006/relationships/tags" Target="../tags/tag219.xml"/><Relationship Id="rId4" Type="http://schemas.openxmlformats.org/officeDocument/2006/relationships/tags" Target="../tags/tag213.xml"/><Relationship Id="rId9" Type="http://schemas.openxmlformats.org/officeDocument/2006/relationships/tags" Target="../tags/tag218.xml"/><Relationship Id="rId14" Type="http://schemas.openxmlformats.org/officeDocument/2006/relationships/slideLayout" Target="../slideLayouts/slideLayout3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13" Type="http://schemas.openxmlformats.org/officeDocument/2006/relationships/tags" Target="../tags/tag235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12" Type="http://schemas.openxmlformats.org/officeDocument/2006/relationships/tags" Target="../tags/tag234.xml"/><Relationship Id="rId2" Type="http://schemas.openxmlformats.org/officeDocument/2006/relationships/tags" Target="../tags/tag224.xml"/><Relationship Id="rId16" Type="http://schemas.openxmlformats.org/officeDocument/2006/relationships/chart" Target="../charts/chart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11" Type="http://schemas.openxmlformats.org/officeDocument/2006/relationships/tags" Target="../tags/tag233.xml"/><Relationship Id="rId5" Type="http://schemas.openxmlformats.org/officeDocument/2006/relationships/tags" Target="../tags/tag227.xml"/><Relationship Id="rId15" Type="http://schemas.openxmlformats.org/officeDocument/2006/relationships/chart" Target="../charts/chart23.xml"/><Relationship Id="rId10" Type="http://schemas.openxmlformats.org/officeDocument/2006/relationships/tags" Target="../tags/tag232.xml"/><Relationship Id="rId4" Type="http://schemas.openxmlformats.org/officeDocument/2006/relationships/tags" Target="../tags/tag226.xml"/><Relationship Id="rId9" Type="http://schemas.openxmlformats.org/officeDocument/2006/relationships/tags" Target="../tags/tag231.xml"/><Relationship Id="rId14" Type="http://schemas.openxmlformats.org/officeDocument/2006/relationships/slideLayout" Target="../slideLayouts/slideLayout3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13" Type="http://schemas.openxmlformats.org/officeDocument/2006/relationships/tags" Target="../tags/tag248.xml"/><Relationship Id="rId3" Type="http://schemas.openxmlformats.org/officeDocument/2006/relationships/tags" Target="../tags/tag238.xml"/><Relationship Id="rId7" Type="http://schemas.openxmlformats.org/officeDocument/2006/relationships/tags" Target="../tags/tag242.xml"/><Relationship Id="rId12" Type="http://schemas.openxmlformats.org/officeDocument/2006/relationships/tags" Target="../tags/tag247.xml"/><Relationship Id="rId2" Type="http://schemas.openxmlformats.org/officeDocument/2006/relationships/tags" Target="../tags/tag237.xml"/><Relationship Id="rId16" Type="http://schemas.openxmlformats.org/officeDocument/2006/relationships/chart" Target="../charts/chart26.xml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11" Type="http://schemas.openxmlformats.org/officeDocument/2006/relationships/tags" Target="../tags/tag246.xml"/><Relationship Id="rId5" Type="http://schemas.openxmlformats.org/officeDocument/2006/relationships/tags" Target="../tags/tag240.xml"/><Relationship Id="rId15" Type="http://schemas.openxmlformats.org/officeDocument/2006/relationships/chart" Target="../charts/chart25.xml"/><Relationship Id="rId10" Type="http://schemas.openxmlformats.org/officeDocument/2006/relationships/tags" Target="../tags/tag245.xml"/><Relationship Id="rId4" Type="http://schemas.openxmlformats.org/officeDocument/2006/relationships/tags" Target="../tags/tag239.xml"/><Relationship Id="rId9" Type="http://schemas.openxmlformats.org/officeDocument/2006/relationships/tags" Target="../tags/tag244.xml"/><Relationship Id="rId14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5" Type="http://schemas.openxmlformats.org/officeDocument/2006/relationships/chart" Target="../charts/chart3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tav epidemie k 15. 7. 2021</a:t>
            </a:r>
          </a:p>
          <a:p>
            <a:r>
              <a:rPr lang="cs-CZ" sz="4800" b="1" dirty="0"/>
              <a:t>– přehled aktuálních dat a trendů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108461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238A8AF-32FF-45EC-A752-A9BD175607CB}"/>
              </a:ext>
            </a:extLst>
          </p:cNvPr>
          <p:cNvGraphicFramePr>
            <a:graphicFrameLocks noGrp="1"/>
          </p:cNvGraphicFramePr>
          <p:nvPr/>
        </p:nvGraphicFramePr>
        <p:xfrm>
          <a:off x="2586886" y="1439068"/>
          <a:ext cx="9114426" cy="4964784"/>
        </p:xfrm>
        <a:graphic>
          <a:graphicData uri="http://schemas.openxmlformats.org/drawingml/2006/table">
            <a:tbl>
              <a:tblPr/>
              <a:tblGrid>
                <a:gridCol w="1519071">
                  <a:extLst>
                    <a:ext uri="{9D8B030D-6E8A-4147-A177-3AD203B41FA5}">
                      <a16:colId xmlns:a16="http://schemas.microsoft.com/office/drawing/2014/main" val="4215070061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4195463978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1968580468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3718293702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2552837859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1948136718"/>
                    </a:ext>
                  </a:extLst>
                </a:gridCol>
              </a:tblGrid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ED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E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87510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EC3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B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97492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ED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C58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8889250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F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D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850267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EC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E9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1355667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E2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9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0528418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E8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3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7602333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8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240155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EC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F8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688020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CC9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2230149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E1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B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C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0675779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7402004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F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8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E5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123095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F0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5536963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0778397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D9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E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0611038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/>
        </p:nvGraphicFramePr>
        <p:xfrm>
          <a:off x="490686" y="759551"/>
          <a:ext cx="11215540" cy="5644303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315100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Kraj podle </a:t>
                      </a:r>
                    </a:p>
                    <a:p>
                      <a:pPr algn="l" fontAlgn="b"/>
                      <a:r>
                        <a:rPr lang="cs-CZ" sz="1400" b="1" i="0" u="sng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místa bydliště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 k 1.1.20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18+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365619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8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8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Hlavní město Pra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1 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9 4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5 2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Střed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7 0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6 8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7 5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2 7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 7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4 2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effectLst/>
                        </a:rPr>
                        <a:t>Plzeňský kraj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2 6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7 2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8 4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arlovar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0 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 1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 7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Úst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0 7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 9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 8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Liber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 0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5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 8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álovéhrad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8 9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1 1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 5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Pardubi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4 4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 5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 2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aj Vysočin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4 4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 9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 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morav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9 9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4 6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3 0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Olomou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3 3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6 9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5 7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Zlín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5 1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3 4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8 2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>
                          <a:effectLst/>
                        </a:rPr>
                        <a:t>Moravskoslez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4 8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5 3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8 5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28992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neuvedeno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 0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5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ČR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83 1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3 9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35 9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18 a více let – přehled podle regionů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. 7. 2021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490686" y="6433516"/>
            <a:ext cx="10910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Celkem bylo u osob ve věku 18+ aplikováno </a:t>
            </a:r>
            <a:r>
              <a:rPr kumimoji="0" lang="pl-PL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 166 168 dávek, z toho 4 035 982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sou dávky druhé/konečné. 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52092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Vývoj v regionech </a:t>
            </a:r>
          </a:p>
          <a:p>
            <a:r>
              <a:rPr lang="cs-CZ" sz="4800" b="1" i="1" dirty="0"/>
              <a:t>- Identifikace rizik -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29519946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0" y="340046"/>
            <a:ext cx="11910383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90000"/>
              </a:lnSpc>
              <a:spcBef>
                <a:spcPts val="1000"/>
              </a:spcBef>
              <a:defRPr/>
            </a:pPr>
            <a:r>
              <a:rPr lang="cs-CZ" sz="3200" b="1" dirty="0">
                <a:solidFill>
                  <a:prstClr val="black"/>
                </a:solidFill>
              </a:rPr>
              <a:t>Postupně přibývá okresů a ORP s rostoucí virovou náloží v populaci. Zejména populace Prahy a s ní úzce provázané regiony Středočeského kraje ve virové náloži v posledních 10 dnech rostou. Významný růst registrují také určité okresy Plzeňského kraje, zvýšené hodnoty registrují oblasti Vysočiny a Pardubického kraje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ejména populace Prahy kontinuálně a významně roste ve virové zátěži mladých lidí pod 30 rokem věku. 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179335" y="286674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179334" y="545744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48731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A9E893AD-4EB6-4967-865E-14C01280F133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64493" y="1405551"/>
            <a:ext cx="3514289" cy="2344042"/>
          </a:xfrm>
          <a:prstGeom prst="rect">
            <a:avLst/>
          </a:prstGeom>
        </p:spPr>
      </p:pic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en-US" dirty="0" err="1"/>
              <a:t>okresech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750302" y="2218096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750302" y="2526822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750302" y="2835548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750302" y="3144274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750302" y="3453000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990058" y="2123430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990058" y="2434720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990058" y="2746010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990058" y="3057300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990058" y="3368590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750302" y="3761725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750302" y="4070449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990058" y="3679880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0990058" y="3991172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0750302" y="1943430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990058" y="1879542"/>
            <a:ext cx="8242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-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D1B206D-13F2-46AF-A707-682B8D88A63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0750302" y="1653088"/>
            <a:ext cx="180000" cy="180000"/>
          </a:xfrm>
          <a:prstGeom prst="rect">
            <a:avLst/>
          </a:prstGeom>
          <a:solidFill>
            <a:srgbClr val="AEDF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E19C18A-0242-40A3-8DFB-2F38AED8C204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10990058" y="1589200"/>
            <a:ext cx="9957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 -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Box 29">
            <a:extLst>
              <a:ext uri="{FF2B5EF4-FFF2-40B4-BE49-F238E27FC236}">
                <a16:creationId xmlns:a16="http://schemas.microsoft.com/office/drawing/2014/main" id="{D586CC7F-5941-4F05-9FC8-AD3DC629C448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379249" y="114713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.6.2021</a:t>
            </a:r>
          </a:p>
        </p:txBody>
      </p:sp>
      <p:sp>
        <p:nvSpPr>
          <p:cNvPr id="2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5271745" y="4841714"/>
            <a:ext cx="6471687" cy="17165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upně přibývá okresů a ORP s rostoucí virovou náloží v populaci. Zejména populace Prahy a s ní úzce provázané regiony Středočeského kraje ve virové náloži v posledních 10 dnech rostou. Významný růst registrují také určité okresy Plzeňského kraje, zvýšené hodnoty registrují oblasti Vysočiny a Pardubického kraje.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72C0F43-AA2D-4190-92A2-DA88FB03C4B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0750302" y="1367242"/>
            <a:ext cx="180000" cy="180000"/>
          </a:xfrm>
          <a:prstGeom prst="rect">
            <a:avLst/>
          </a:prstGeom>
          <a:solidFill>
            <a:srgbClr val="E5F4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7F72A3E-D55C-4A77-863C-B5BD05190F52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10990058" y="1303354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</a:t>
            </a:r>
          </a:p>
        </p:txBody>
      </p:sp>
      <p:sp>
        <p:nvSpPr>
          <p:cNvPr id="36" name="TextBox 29">
            <a:extLst>
              <a:ext uri="{FF2B5EF4-FFF2-40B4-BE49-F238E27FC236}">
                <a16:creationId xmlns:a16="http://schemas.microsoft.com/office/drawing/2014/main" id="{F32E18FD-30F6-431C-890A-5BF00BDE9FB5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3712872" y="1159308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.7.2021</a:t>
            </a:r>
          </a:p>
        </p:txBody>
      </p:sp>
      <p:pic>
        <p:nvPicPr>
          <p:cNvPr id="37" name="Picture 2">
            <a:extLst>
              <a:ext uri="{FF2B5EF4-FFF2-40B4-BE49-F238E27FC236}">
                <a16:creationId xmlns:a16="http://schemas.microsoft.com/office/drawing/2014/main" id="{D7CBBE6C-5068-4050-AEFB-D197AC99001E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8981" y="1763934"/>
            <a:ext cx="3273867" cy="1887288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6A5BBD5C-91CF-4AD5-92B7-62F465B9DC76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54147" y="1617820"/>
            <a:ext cx="3623573" cy="2089324"/>
          </a:xfrm>
          <a:prstGeom prst="rect">
            <a:avLst/>
          </a:prstGeom>
        </p:spPr>
      </p:pic>
      <p:sp>
        <p:nvSpPr>
          <p:cNvPr id="38" name="TextBox 29">
            <a:extLst>
              <a:ext uri="{FF2B5EF4-FFF2-40B4-BE49-F238E27FC236}">
                <a16:creationId xmlns:a16="http://schemas.microsoft.com/office/drawing/2014/main" id="{D21E76E2-5BA4-4525-A0BA-BE3B63C04A62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6924269" y="1158017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.7.2021</a:t>
            </a:r>
          </a:p>
        </p:txBody>
      </p:sp>
      <p:pic>
        <p:nvPicPr>
          <p:cNvPr id="21" name="Obrázek 20">
            <a:extLst>
              <a:ext uri="{FF2B5EF4-FFF2-40B4-BE49-F238E27FC236}">
                <a16:creationId xmlns:a16="http://schemas.microsoft.com/office/drawing/2014/main" id="{BE60C691-30B0-4141-B7DB-3F696386A59D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218981" y="4250449"/>
            <a:ext cx="3399832" cy="2089324"/>
          </a:xfrm>
          <a:prstGeom prst="rect">
            <a:avLst/>
          </a:prstGeom>
        </p:spPr>
      </p:pic>
      <p:sp>
        <p:nvSpPr>
          <p:cNvPr id="34" name="TextBox 29">
            <a:extLst>
              <a:ext uri="{FF2B5EF4-FFF2-40B4-BE49-F238E27FC236}">
                <a16:creationId xmlns:a16="http://schemas.microsoft.com/office/drawing/2014/main" id="{3A727823-B8CC-4E4A-BB65-B16080627952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385658" y="3867914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7.2021</a:t>
            </a:r>
          </a:p>
        </p:txBody>
      </p:sp>
    </p:spTree>
    <p:extLst>
      <p:ext uri="{BB962C8B-B14F-4D97-AF65-F5344CB8AC3E}">
        <p14:creationId xmlns:p14="http://schemas.microsoft.com/office/powerpoint/2010/main" val="3040173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cs-CZ" dirty="0"/>
              <a:t>ORP</a:t>
            </a:r>
            <a:endParaRPr lang="cs-CZ" dirty="0">
              <a:latin typeface="+mj-l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6DA533D-9AA6-4235-B3D6-0096CA366F7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723923" y="2218096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0F9B2D6-4778-43E3-B98E-5EC8465786AF}"/>
              </a:ext>
            </a:extLst>
          </p:cNvPr>
          <p:cNvSpPr/>
          <p:nvPr/>
        </p:nvSpPr>
        <p:spPr>
          <a:xfrm>
            <a:off x="10723923" y="2526822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07F1A4A-FA9D-4A47-A922-1B251B902C72}"/>
              </a:ext>
            </a:extLst>
          </p:cNvPr>
          <p:cNvSpPr/>
          <p:nvPr/>
        </p:nvSpPr>
        <p:spPr>
          <a:xfrm>
            <a:off x="10723923" y="2835548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1EEC538-E62E-4ECC-A778-E278E2B9476C}"/>
              </a:ext>
            </a:extLst>
          </p:cNvPr>
          <p:cNvSpPr/>
          <p:nvPr/>
        </p:nvSpPr>
        <p:spPr>
          <a:xfrm>
            <a:off x="10723923" y="3144274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DF4DADA-62DA-4D7C-BEE5-575B28C59CD3}"/>
              </a:ext>
            </a:extLst>
          </p:cNvPr>
          <p:cNvSpPr/>
          <p:nvPr/>
        </p:nvSpPr>
        <p:spPr>
          <a:xfrm>
            <a:off x="10723923" y="3453000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775056E-D2D8-4A42-93BA-8AD5AE12087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963679" y="2123430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AF6A747-9CB7-4324-9AD2-66BB7661482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963679" y="2434720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1970D23-2A89-4954-B11F-F107C3FF8C4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963679" y="2746010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257F127-642F-4FE1-A99D-F6D1BC53F26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963679" y="3057300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DFEC243-B207-455A-9FEC-61ED8EBA2E4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963679" y="3368590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30AA543-8A4D-4DAF-8995-125FD8B9740E}"/>
              </a:ext>
            </a:extLst>
          </p:cNvPr>
          <p:cNvSpPr/>
          <p:nvPr/>
        </p:nvSpPr>
        <p:spPr>
          <a:xfrm>
            <a:off x="10723923" y="3761725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5B453F5-58DE-4531-B614-A6425C4ECDC7}"/>
              </a:ext>
            </a:extLst>
          </p:cNvPr>
          <p:cNvSpPr/>
          <p:nvPr/>
        </p:nvSpPr>
        <p:spPr>
          <a:xfrm>
            <a:off x="10723923" y="4070449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CE90649-6AC8-4B02-83B4-7BEEC4B21FE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963679" y="3679880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7A2E242-16BE-43A3-A54C-553C4F1B3F8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963679" y="3991172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C737378-EE80-453C-9766-DBFF463FCE50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0723923" y="1943430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55FBCF5-FF36-4D26-B8AB-48C580D765F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963679" y="1879542"/>
            <a:ext cx="8242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-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C13340A-0D48-41A5-8B34-0BA78DAA051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0723923" y="1653088"/>
            <a:ext cx="180000" cy="180000"/>
          </a:xfrm>
          <a:prstGeom prst="rect">
            <a:avLst/>
          </a:prstGeom>
          <a:solidFill>
            <a:srgbClr val="AEDF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710957B-844A-4350-A2A6-C433DDDC464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0963679" y="1589200"/>
            <a:ext cx="9957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 -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F6283F6-EF4A-46D7-8FC0-362446F992A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0723923" y="1367242"/>
            <a:ext cx="180000" cy="180000"/>
          </a:xfrm>
          <a:prstGeom prst="rect">
            <a:avLst/>
          </a:prstGeom>
          <a:solidFill>
            <a:srgbClr val="E5F4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D81AB04-090F-49D2-8801-552F995C391F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0963679" y="1303354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</a:t>
            </a:r>
          </a:p>
        </p:txBody>
      </p:sp>
      <p:pic>
        <p:nvPicPr>
          <p:cNvPr id="31" name="Picture 2">
            <a:extLst>
              <a:ext uri="{FF2B5EF4-FFF2-40B4-BE49-F238E27FC236}">
                <a16:creationId xmlns:a16="http://schemas.microsoft.com/office/drawing/2014/main" id="{E706A0A2-2236-4CBF-9091-939F96858D4B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1223" y="1815372"/>
            <a:ext cx="3442510" cy="1985141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115A66F0-6FA0-4239-80AE-ACA9EBA4A6B8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81156" y="1827548"/>
            <a:ext cx="3278191" cy="2016000"/>
          </a:xfrm>
          <a:prstGeom prst="rect">
            <a:avLst/>
          </a:prstGeom>
        </p:spPr>
      </p:pic>
      <p:pic>
        <p:nvPicPr>
          <p:cNvPr id="2" name="Obrázek 1">
            <a:extLst>
              <a:ext uri="{FF2B5EF4-FFF2-40B4-BE49-F238E27FC236}">
                <a16:creationId xmlns:a16="http://schemas.microsoft.com/office/drawing/2014/main" id="{B6366803-4E9B-42C2-A8A8-317BF5917F8F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72985" y="1702671"/>
            <a:ext cx="3412378" cy="2174072"/>
          </a:xfrm>
          <a:prstGeom prst="rect">
            <a:avLst/>
          </a:prstGeom>
        </p:spPr>
      </p:pic>
      <p:sp>
        <p:nvSpPr>
          <p:cNvPr id="55" name="TextBox 29">
            <a:extLst>
              <a:ext uri="{FF2B5EF4-FFF2-40B4-BE49-F238E27FC236}">
                <a16:creationId xmlns:a16="http://schemas.microsoft.com/office/drawing/2014/main" id="{4FCBE93A-8CB6-4C0B-98C8-6FE35E5D17C4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379249" y="114713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.6.2021</a:t>
            </a:r>
          </a:p>
        </p:txBody>
      </p:sp>
      <p:sp>
        <p:nvSpPr>
          <p:cNvPr id="56" name="TextBox 29">
            <a:extLst>
              <a:ext uri="{FF2B5EF4-FFF2-40B4-BE49-F238E27FC236}">
                <a16:creationId xmlns:a16="http://schemas.microsoft.com/office/drawing/2014/main" id="{94E97349-D680-49D6-8CBE-A5F6F0F8BB2D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3712872" y="1159308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.7.2021</a:t>
            </a:r>
          </a:p>
        </p:txBody>
      </p:sp>
      <p:sp>
        <p:nvSpPr>
          <p:cNvPr id="57" name="TextBox 29">
            <a:extLst>
              <a:ext uri="{FF2B5EF4-FFF2-40B4-BE49-F238E27FC236}">
                <a16:creationId xmlns:a16="http://schemas.microsoft.com/office/drawing/2014/main" id="{DB03355B-CED5-407A-8617-EA03BAE7D507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6924269" y="1158017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.7.2021</a:t>
            </a: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CB1AC0A7-D9A6-4B56-A2E4-068D9B539FF2}"/>
              </a:ext>
            </a:extLst>
          </p:cNvPr>
          <p:cNvSpPr txBox="1"/>
          <p:nvPr/>
        </p:nvSpPr>
        <p:spPr>
          <a:xfrm>
            <a:off x="1117293" y="5109661"/>
            <a:ext cx="2375555" cy="646331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sím přidat další mapu </a:t>
            </a:r>
          </a:p>
        </p:txBody>
      </p:sp>
      <p:sp>
        <p:nvSpPr>
          <p:cNvPr id="53" name="Podnadpis 2">
            <a:extLst>
              <a:ext uri="{FF2B5EF4-FFF2-40B4-BE49-F238E27FC236}">
                <a16:creationId xmlns:a16="http://schemas.microsoft.com/office/drawing/2014/main" id="{5A17D98B-9F35-49BE-86CF-C926320C428F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5271745" y="4841714"/>
            <a:ext cx="6471687" cy="17165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upně přibývá okresů a ORP s rostoucí virovou náloží v populaci. Zejména populace Prahy a s ní úzce provázané regiony Středočeského kraje ve virové náloži v posledních 10 dnech rostou. Významný růst registrují také určité okresy Plzeňského kraje, zvýšené hodnoty registrují oblasti Vysočiny a Pardubického kraje. 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ED4C79FE-2D92-400C-A4C6-DB6F3522033E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379249" y="4068643"/>
            <a:ext cx="3470448" cy="2270095"/>
          </a:xfrm>
          <a:prstGeom prst="rect">
            <a:avLst/>
          </a:prstGeom>
        </p:spPr>
      </p:pic>
      <p:sp>
        <p:nvSpPr>
          <p:cNvPr id="58" name="TextBox 29">
            <a:extLst>
              <a:ext uri="{FF2B5EF4-FFF2-40B4-BE49-F238E27FC236}">
                <a16:creationId xmlns:a16="http://schemas.microsoft.com/office/drawing/2014/main" id="{FA434B93-96C1-491F-9D77-2E4195867144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379249" y="391194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7.2021</a:t>
            </a:r>
          </a:p>
        </p:txBody>
      </p:sp>
    </p:spTree>
    <p:extLst>
      <p:ext uri="{BB962C8B-B14F-4D97-AF65-F5344CB8AC3E}">
        <p14:creationId xmlns:p14="http://schemas.microsoft.com/office/powerpoint/2010/main" val="35151976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Zátěž regionů ve vzájemném srovnání </a:t>
            </a:r>
            <a:r>
              <a:rPr lang="pl-PL" dirty="0"/>
              <a:t>krajů k 15. </a:t>
            </a:r>
            <a:r>
              <a:rPr lang="cs-CZ" dirty="0"/>
              <a:t>7.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824193" y="1387896"/>
            <a:ext cx="498606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lvl="0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výšené počty nově nakažených registrují regiony Praha, Plzeňský a Středočeský kraj.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/>
              </a:rPr>
              <a:t>Nárůsty jsou v posledních dnech evidovány také v kraji Plzeňském a na Vysočině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lvl="0"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/>
            </a:endParaRPr>
          </a:p>
          <a:p>
            <a:pPr lvl="0"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/>
              </a:rPr>
              <a:t>Reprodukční číslo je větší než 1 nebo rovno 1 ve všech regionech ČR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33479712"/>
              </p:ext>
            </p:extLst>
          </p:nvPr>
        </p:nvGraphicFramePr>
        <p:xfrm>
          <a:off x="381739" y="853438"/>
          <a:ext cx="6019644" cy="57302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36875">
                  <a:extLst>
                    <a:ext uri="{9D8B030D-6E8A-4147-A177-3AD203B41FA5}">
                      <a16:colId xmlns:a16="http://schemas.microsoft.com/office/drawing/2014/main" val="1104746273"/>
                    </a:ext>
                  </a:extLst>
                </a:gridCol>
                <a:gridCol w="1730209">
                  <a:extLst>
                    <a:ext uri="{9D8B030D-6E8A-4147-A177-3AD203B41FA5}">
                      <a16:colId xmlns:a16="http://schemas.microsoft.com/office/drawing/2014/main" val="2879916102"/>
                    </a:ext>
                  </a:extLst>
                </a:gridCol>
                <a:gridCol w="1852560">
                  <a:extLst>
                    <a:ext uri="{9D8B030D-6E8A-4147-A177-3AD203B41FA5}">
                      <a16:colId xmlns:a16="http://schemas.microsoft.com/office/drawing/2014/main" val="2227094756"/>
                    </a:ext>
                  </a:extLst>
                </a:gridCol>
              </a:tblGrid>
              <a:tr h="433332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ázev kraje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denní počet nových případů na 100 tis. obyv.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denní počet nových případů na 100 tis. obyv.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6202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800" b="1" dirty="0" err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lavní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ěsto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raha</a:t>
                      </a:r>
                      <a:endParaRPr lang="cs-CZ" sz="18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.0</a:t>
                      </a:r>
                      <a:endParaRPr lang="cs-CZ" sz="1800" b="1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3.5</a:t>
                      </a:r>
                      <a:endParaRPr lang="cs-CZ" sz="1800" b="1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826730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800" b="1" dirty="0" err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zeňský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8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.4</a:t>
                      </a:r>
                      <a:endParaRPr lang="cs-CZ" sz="18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6.5</a:t>
                      </a:r>
                      <a:endParaRPr lang="cs-CZ" sz="18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070943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ředočeský kraj</a:t>
                      </a:r>
                      <a:endParaRPr lang="cs-CZ" sz="1800" b="1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.3</a:t>
                      </a:r>
                      <a:endParaRPr lang="cs-CZ" sz="1800" b="1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.5</a:t>
                      </a:r>
                      <a:endParaRPr lang="cs-CZ" sz="18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499811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rdubic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.1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.7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871709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 Vysočina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.8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.4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0686177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berec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.3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.5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641128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avskoslezs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6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.8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96062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álovéhradec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2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.4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1151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stec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.2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.3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40667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čes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.7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.4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1035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moravs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.1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.3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98481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líns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3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6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3045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lomouc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9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6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07168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rlovars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8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.8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64461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ČR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.5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.5</a:t>
                      </a:r>
                      <a:endParaRPr lang="cs-CZ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6907440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041230" y="6004142"/>
            <a:ext cx="4988598" cy="70788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á hodnota za ČR stoupl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15,5 případů / 100 tis. obyv. za 7 dní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6584030" y="6047794"/>
            <a:ext cx="457200" cy="664234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07207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 (zjednodušený výpočet) - 7 denní úseky: srovnání krajů k 15. 7.</a:t>
            </a:r>
            <a:endParaRPr lang="cs-CZ" sz="2000" dirty="0">
              <a:latin typeface="+mn-lt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790543" y="1419010"/>
            <a:ext cx="5854059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dnota reprodukčního čísla opět postupně roste a je &gt; 1 nebo rovna 1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šech krajích. Interpretace 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ěcht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 hodnot se ale v jednotlivých krajích liš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 většiny regionů jde stále o důsledek oscilace denních záchytů případů v nízkých počtech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ontinuálně roste hodnota R zejména pro pražskou populaci a populaci Středočeského a Plzeňského kraje, kde se jedná o rizikový vývoj i v počtu nově diagnostikovaných případů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vě rizikově narostlo reprodukční číslo v Pardubickém kraji. </a:t>
            </a:r>
          </a:p>
        </p:txBody>
      </p:sp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2B4D620B-C3D4-47ED-AF3D-D624D051B3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3856385"/>
              </p:ext>
            </p:extLst>
          </p:nvPr>
        </p:nvGraphicFramePr>
        <p:xfrm>
          <a:off x="795782" y="1147381"/>
          <a:ext cx="4361434" cy="51816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46561">
                  <a:extLst>
                    <a:ext uri="{9D8B030D-6E8A-4147-A177-3AD203B41FA5}">
                      <a16:colId xmlns:a16="http://schemas.microsoft.com/office/drawing/2014/main" val="1130516845"/>
                    </a:ext>
                  </a:extLst>
                </a:gridCol>
                <a:gridCol w="1814873">
                  <a:extLst>
                    <a:ext uri="{9D8B030D-6E8A-4147-A177-3AD203B41FA5}">
                      <a16:colId xmlns:a16="http://schemas.microsoft.com/office/drawing/2014/main" val="8775521"/>
                    </a:ext>
                  </a:extLst>
                </a:gridCol>
              </a:tblGrid>
              <a:tr h="166370">
                <a:tc>
                  <a:txBody>
                    <a:bodyPr/>
                    <a:lstStyle/>
                    <a:p>
                      <a:r>
                        <a:rPr lang="en-US" sz="1600" b="1" dirty="0" err="1">
                          <a:effectLst/>
                        </a:rPr>
                        <a:t>Název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kraje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err="1">
                          <a:effectLst/>
                        </a:rPr>
                        <a:t>Odhad</a:t>
                      </a:r>
                      <a:r>
                        <a:rPr lang="en-US" sz="1600" b="1" dirty="0">
                          <a:effectLst/>
                        </a:rPr>
                        <a:t> R</a:t>
                      </a:r>
                      <a:endParaRPr lang="cs-CZ" sz="1600" b="1" dirty="0">
                        <a:effectLst/>
                      </a:endParaRPr>
                    </a:p>
                    <a:p>
                      <a:pPr algn="ctr"/>
                      <a:r>
                        <a:rPr lang="en-US" sz="1600" b="1" dirty="0" err="1">
                          <a:effectLst/>
                        </a:rPr>
                        <a:t>ze</a:t>
                      </a:r>
                      <a:r>
                        <a:rPr lang="en-US" sz="1600" b="1" dirty="0">
                          <a:effectLst/>
                        </a:rPr>
                        <a:t> 7denních </a:t>
                      </a:r>
                      <a:r>
                        <a:rPr lang="en-US" sz="1600" b="1" dirty="0" err="1">
                          <a:effectLst/>
                        </a:rPr>
                        <a:t>časových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úseků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966968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600" dirty="0" err="1">
                          <a:effectLst/>
                        </a:rPr>
                        <a:t>Hlavní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město</a:t>
                      </a:r>
                      <a:r>
                        <a:rPr lang="en-US" sz="1600" dirty="0">
                          <a:effectLst/>
                        </a:rPr>
                        <a:t> Praha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1.13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775556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600" dirty="0" err="1">
                          <a:effectLst/>
                        </a:rPr>
                        <a:t>Plzeňský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.52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294642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600" dirty="0" err="1">
                          <a:effectLst/>
                        </a:rPr>
                        <a:t>Středočeský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.37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860357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Pardubi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2.40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349121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Kraj Vysočina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.25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82404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Liber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.14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92869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Moravskoslez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.31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9564135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Královéhrad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.50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931417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Úst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.74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282271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Jihoče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.59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307044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Jihomorav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.20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711773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Zlín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.48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339826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Olomou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.00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378230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Karlovar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.10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137125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</a:rPr>
                        <a:t>ČR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.31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12054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52471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06439" y="3120705"/>
            <a:ext cx="8050306" cy="4165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E0EBEBF9-86C6-4A1D-B71D-64BB3EF2536F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0443" y="1066344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elativní pozitivita testů s diagnostickou/epidemiologickou indikací za 7 dní</a:t>
            </a:r>
            <a:endParaRPr lang="cs-CZ" sz="2000" dirty="0">
              <a:latin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6D1E585-3993-416C-AF95-42C197FE79D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72D653-29BB-46C3-83F2-8221BA928DD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C80593F-C2D7-48EC-9C6F-8A8D60EF292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D4B11B-8579-446E-91AF-8288C6B4363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492057" y="765095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5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DAB7E79-4343-403B-91F5-3309618E2A1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A0394B2-B166-4AEA-96C1-E480F847DCB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666868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.5.2021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681979-8D7B-4CCB-B955-EFE9E629263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4880431-BE22-4A6A-8973-100F5FFE2E4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790035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.7.2021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A2E89090-251C-4582-88E7-CFD732AB9B26}"/>
              </a:ext>
            </a:extLst>
          </p:cNvPr>
          <p:cNvGraphicFramePr/>
          <p:nvPr>
            <p:custDataLst>
              <p:tags r:id="rId12"/>
            </p:custDataLst>
          </p:nvPr>
        </p:nvGraphicFramePr>
        <p:xfrm>
          <a:off x="4961634" y="1118792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20" name="TextovéPole 19">
            <a:extLst>
              <a:ext uri="{FF2B5EF4-FFF2-40B4-BE49-F238E27FC236}">
                <a16:creationId xmlns:a16="http://schemas.microsoft.com/office/drawing/2014/main" id="{87D21406-A51E-454F-B6BF-08EA68C65A37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310379" y="2155770"/>
            <a:ext cx="3685507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y a klinicky indikovaných testů a testů z epidemiologické indikace v posledních dnech narostla ve třech nejvíce zatížených krajích (HMP, PLK, STČ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cméně všechny kraje stále vykazují nízké hodnoty tohoto indikátoru, tedy pod hranicí 4%.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92824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06439" y="2802034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8B0B522C-5BE7-400C-9C38-FFD78A223EB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224224" y="1118792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symptomatické případy za 7 dní na 100 000 obyvatel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4961634" y="1118792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711706" y="1900442"/>
            <a:ext cx="328418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nově diagnostikovaných se symptomy klesají nebo stagnují v čase ve všech regionech. Tento počet významně nenarůstá ani v regionech, kde recentně pozorujeme celkový nárůst počtu nových případů. Data potvrzují, že naprostá většina nových nákaz </a:t>
            </a:r>
            <a:b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mladých lidí probíhá mírně. </a:t>
            </a:r>
          </a:p>
        </p:txBody>
      </p:sp>
      <p:sp>
        <p:nvSpPr>
          <p:cNvPr id="16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457175" y="765095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E28A43B-B8CE-4CA0-9E62-5D1B340E18D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F95BB39-28E6-4D54-A5B9-0BD3C5428A1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4E86AA1-BE9C-4E9C-B5DD-5783E525570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84F8BAA-8239-4608-983C-EB290DED434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492057" y="765095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5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F02E39D-5C41-4DFD-9BB1-86EC9D3223A3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AB3E34B-A439-4715-8C2A-0A0FCB7FFE6D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666868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.5.2021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07D091E-7793-499C-982A-8833D6F4BB3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C3C4644-BCF4-4D5D-B09D-428A3734CFEA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8790035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.7.2021</a:t>
            </a:r>
          </a:p>
        </p:txBody>
      </p:sp>
    </p:spTree>
    <p:extLst>
      <p:ext uri="{BB962C8B-B14F-4D97-AF65-F5344CB8AC3E}">
        <p14:creationId xmlns:p14="http://schemas.microsoft.com/office/powerpoint/2010/main" val="25997877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Nové případy za 7 dní na 100 000 obyvatel: 20 okresů s nejvyššími hodnotami k </a:t>
            </a:r>
            <a:r>
              <a:rPr lang="cs-CZ" sz="2000" dirty="0"/>
              <a:t>13</a:t>
            </a:r>
            <a:r>
              <a:rPr lang="pl-PL" sz="2000" dirty="0"/>
              <a:t>.7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1824" y="1207763"/>
          <a:ext cx="4518105" cy="5702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4943" y="945486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graphicFrame>
        <p:nvGraphicFramePr>
          <p:cNvPr id="14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4989018" y="12077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30425" y="1819469"/>
            <a:ext cx="3868742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tenciálně rizikový vývoj nastal v uplynulých 10 dnech v celkem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tnácti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krese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ktuálně největší počet potvrzených záchytů nákazy na 100tis. obyv. registrují okresy Plzeň-sever, Rokycany, Plzeň-město, Praha, Praha-západ, Plzeň-jih a Pardubice. V těchto okresech je evidován týdenní počet nově zachycených případů nad 25/100 tis. obyvatel, přičemž jde o rostoucí trend při zvýšených hodnotách R.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ED50BEE-CD8A-46F6-9446-C78BF9B455E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0547418-27A7-4D23-8E57-B7B3125E825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479794A-4E8A-458B-B3E9-3CD0D29F6ED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D06C6D7-C89C-40EC-8F95-B2DD802E134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92057" y="765095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5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252DA59-F3A1-4E04-8FDA-DE2C0404384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2FA2335-64D1-4E61-A09B-E82386934E7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666868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.5.202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FF3B4FD-0AB4-40E2-85E9-CE4E09FA3F2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3CAD837-364B-4D07-BB24-0D00CC3A223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790035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7.2021</a:t>
            </a:r>
          </a:p>
        </p:txBody>
      </p:sp>
    </p:spTree>
    <p:extLst>
      <p:ext uri="{BB962C8B-B14F-4D97-AF65-F5344CB8AC3E}">
        <p14:creationId xmlns:p14="http://schemas.microsoft.com/office/powerpoint/2010/main" val="9592260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85737" y="3248690"/>
            <a:ext cx="1182052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počet nově prokázaných případů onemocnění vzrostl</a:t>
            </a:r>
          </a:p>
          <a:p>
            <a:pPr lvl="0" algn="ctr">
              <a:defRPr/>
            </a:pPr>
            <a:r>
              <a:rPr kumimoji="0" lang="cs-CZ" sz="3200" b="1" i="0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hodnotě </a:t>
            </a: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40 denně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cs-CZ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opopulační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produkční číslo je rovno cca 1,3 – 1,4. Týdenní nárůsty činí cca +30%. Virová zátěž se zvyšuje zejména u mladých lidí ve věku 16 – 29 let. </a:t>
            </a:r>
            <a:r>
              <a:rPr lang="cs-CZ" sz="3200" b="1" dirty="0">
                <a:solidFill>
                  <a:srgbClr val="0000FF"/>
                </a:solidFill>
              </a:rPr>
              <a:t>Počet nově nakažených potenciálně zranitelných skupin obyvatel je avšak stále nízký </a:t>
            </a:r>
          </a:p>
          <a:p>
            <a:pPr lvl="0" algn="ctr">
              <a:defRPr/>
            </a:pPr>
            <a:r>
              <a:rPr lang="cs-CZ" sz="3200" b="1" dirty="0">
                <a:solidFill>
                  <a:srgbClr val="0000FF"/>
                </a:solidFill>
              </a:rPr>
              <a:t>(v jednotkách denně)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339521" y="279544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85737" y="219665"/>
            <a:ext cx="11937133" cy="24335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epidemie se na populační úrovni zastavil. Virová nálož setrvale, roste, především v důsledku vývoje v Praze, Středočeském a Plzeňském kraji. Nově potvrzené případy mají            v naprosté většině nezávažný průběh nemoci, zátěž nemocnic je velmi nízká a stále klesá. 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339522" y="6240491"/>
            <a:ext cx="1551709" cy="3924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32499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Nové případy za 7 dní na 100 000 obyvatel: 20 okresů s nejvyššími hodnotami k </a:t>
            </a:r>
            <a:r>
              <a:rPr lang="cs-CZ" sz="2000" dirty="0"/>
              <a:t>14</a:t>
            </a:r>
            <a:r>
              <a:rPr lang="pl-PL" sz="2000" dirty="0"/>
              <a:t>.7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6059247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4943" y="945486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sp>
        <p:nvSpPr>
          <p:cNvPr id="9" name="TextovéPole 6">
            <a:extLst>
              <a:ext uri="{FF2B5EF4-FFF2-40B4-BE49-F238E27FC236}">
                <a16:creationId xmlns:a16="http://schemas.microsoft.com/office/drawing/2014/main" id="{9B45D4F8-61EE-403A-869D-55184481FC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171669" y="925059"/>
            <a:ext cx="34355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 (20 okresů s nejvyššími hodnotami)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27F0E65-C6B8-4A75-8D1B-D96D31B1B03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35718461"/>
              </p:ext>
            </p:extLst>
          </p:nvPr>
        </p:nvGraphicFramePr>
        <p:xfrm>
          <a:off x="5316142" y="1301175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76ACD2A0-0BE8-480D-A338-915B7AAB8F86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44735750"/>
              </p:ext>
            </p:extLst>
          </p:nvPr>
        </p:nvGraphicFramePr>
        <p:xfrm>
          <a:off x="8643509" y="1301175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2" name="TextovéPole 6">
            <a:extLst>
              <a:ext uri="{FF2B5EF4-FFF2-40B4-BE49-F238E27FC236}">
                <a16:creationId xmlns:a16="http://schemas.microsoft.com/office/drawing/2014/main" id="{FA5B2374-6BF8-4269-978D-62AC84EEE7B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43509" y="817715"/>
            <a:ext cx="34355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ýc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ologick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ých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ů (%)</a:t>
            </a:r>
          </a:p>
        </p:txBody>
      </p:sp>
      <p:sp>
        <p:nvSpPr>
          <p:cNvPr id="13" name="TextovéPole 12"/>
          <p:cNvSpPr txBox="1"/>
          <p:nvPr>
            <p:custDataLst>
              <p:tags r:id="rId8"/>
            </p:custDataLst>
          </p:nvPr>
        </p:nvSpPr>
        <p:spPr>
          <a:xfrm>
            <a:off x="2886822" y="5590556"/>
            <a:ext cx="24293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výrazněny jsou okresy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kterých je hodnota R &gt; 0,95 spojena s relativně vysokým počtem nově potvrzených záchytů nemoci. </a:t>
            </a:r>
          </a:p>
        </p:txBody>
      </p:sp>
    </p:spTree>
    <p:extLst>
      <p:ext uri="{BB962C8B-B14F-4D97-AF65-F5344CB8AC3E}">
        <p14:creationId xmlns:p14="http://schemas.microsoft.com/office/powerpoint/2010/main" val="369927851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59E23D2C-D82F-423D-91A2-A5ED4E6A30B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13"/>
          <a:srcRect l="2109"/>
          <a:stretch/>
        </p:blipFill>
        <p:spPr>
          <a:xfrm>
            <a:off x="0" y="762527"/>
            <a:ext cx="8032642" cy="5079699"/>
          </a:xfrm>
          <a:prstGeom prst="rect">
            <a:avLst/>
          </a:prstGeom>
        </p:spPr>
      </p:pic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Přehled okresů s potenciálně rizikovými epidemickými hodnotami </a:t>
            </a:r>
            <a:br>
              <a:rPr lang="pl-PL" sz="2000" dirty="0"/>
            </a:br>
            <a:r>
              <a:rPr lang="pl-PL" sz="2000" dirty="0"/>
              <a:t>(kalkulace s hranicí týdenního záchytu 25 případů / 100tis. obyv.)</a:t>
            </a:r>
            <a:endParaRPr lang="cs-CZ" sz="2000" dirty="0"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A9CE990-B476-48D3-9B51-BD51368C6C0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1925" y="572648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424877-C36B-476A-80A2-75A84432AC9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1925" y="609863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AC83000-BE90-410D-BCEB-3BEC6AE0555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1925" y="649877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B73E81-14CA-4808-AA44-F71F2F14BCB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650" y="563181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denní počty nových případů &gt; 25/100tis. obyv. a s R &lt; 0,9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557CE4-9D86-46E6-B551-9FD22B69FA0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650" y="603079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denní počty nových případů v intervalu 12,5 – 25/100tis. obyv. a s R ≥0,95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20F612-C5CB-4791-BE1D-DD2B112E2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27650" y="640012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denní počty nových případů &gt; 25/100tis. obyv. a zároveň s R ≥0,95</a:t>
            </a:r>
          </a:p>
        </p:txBody>
      </p:sp>
      <p:sp>
        <p:nvSpPr>
          <p:cNvPr id="4" name="TextovéPole 3"/>
          <p:cNvSpPr txBox="1"/>
          <p:nvPr>
            <p:custDataLst>
              <p:tags r:id="rId9"/>
            </p:custDataLst>
          </p:nvPr>
        </p:nvSpPr>
        <p:spPr>
          <a:xfrm>
            <a:off x="341925" y="869295"/>
            <a:ext cx="1796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KRESY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4728675" y="834101"/>
            <a:ext cx="46248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okresů s potenciálně rizikovým vývojem v čase narůstají. 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4332E40D-09F4-4164-B3B2-0599091F63F0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</p:nvPr>
        </p:nvGraphicFramePr>
        <p:xfrm>
          <a:off x="9555061" y="1104749"/>
          <a:ext cx="1644242" cy="5574030"/>
        </p:xfrm>
        <a:graphic>
          <a:graphicData uri="http://schemas.openxmlformats.org/drawingml/2006/table">
            <a:tbl>
              <a:tblPr/>
              <a:tblGrid>
                <a:gridCol w="1644242">
                  <a:extLst>
                    <a:ext uri="{9D8B030D-6E8A-4147-A177-3AD203B41FA5}">
                      <a16:colId xmlns:a16="http://schemas.microsoft.com/office/drawing/2014/main" val="3469318836"/>
                    </a:ext>
                  </a:extLst>
                </a:gridCol>
              </a:tblGrid>
              <a:tr h="2180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ah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4474971"/>
                  </a:ext>
                </a:extLst>
              </a:tr>
              <a:tr h="2180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aha-zá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1537853"/>
                  </a:ext>
                </a:extLst>
              </a:tr>
              <a:tr h="2180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lzeň-měst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8413374"/>
                  </a:ext>
                </a:extLst>
              </a:tr>
              <a:tr h="2180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lzeň-jih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22378"/>
                  </a:ext>
                </a:extLst>
              </a:tr>
              <a:tr h="2180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lzeň-seve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2488486"/>
                  </a:ext>
                </a:extLst>
              </a:tr>
              <a:tr h="2180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okycan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2003901"/>
                  </a:ext>
                </a:extLst>
              </a:tr>
              <a:tr h="2180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ardub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9493047"/>
                  </a:ext>
                </a:extLst>
              </a:tr>
              <a:tr h="2180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enešo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9925774"/>
                  </a:ext>
                </a:extLst>
              </a:tr>
              <a:tr h="2180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erou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447767"/>
                  </a:ext>
                </a:extLst>
              </a:tr>
              <a:tr h="2180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Kutná Hor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5186051"/>
                  </a:ext>
                </a:extLst>
              </a:tr>
              <a:tr h="2180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ělník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46169"/>
                  </a:ext>
                </a:extLst>
              </a:tr>
              <a:tr h="2180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ladá Bolesla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7555005"/>
                  </a:ext>
                </a:extLst>
              </a:tr>
              <a:tr h="2180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ymburk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5544327"/>
                  </a:ext>
                </a:extLst>
              </a:tr>
              <a:tr h="2180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aha-východ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2583828"/>
                  </a:ext>
                </a:extLst>
              </a:tr>
              <a:tr h="2180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achatic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849593"/>
                  </a:ext>
                </a:extLst>
              </a:tr>
              <a:tr h="2180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ibere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7145180"/>
                  </a:ext>
                </a:extLst>
              </a:tr>
              <a:tr h="2180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radec Králové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734681"/>
                  </a:ext>
                </a:extLst>
              </a:tr>
              <a:tr h="2180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vitav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6032744"/>
                  </a:ext>
                </a:extLst>
              </a:tr>
              <a:tr h="2180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avlíčkův Brod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379448"/>
                  </a:ext>
                </a:extLst>
              </a:tr>
              <a:tr h="2180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řebíč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230931"/>
                  </a:ext>
                </a:extLst>
              </a:tr>
              <a:tr h="2180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Žďár nad Sázavou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2055919"/>
                  </a:ext>
                </a:extLst>
              </a:tr>
              <a:tr h="2180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rýdek-Místek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93164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530937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>
            <a:extLst>
              <a:ext uri="{FF2B5EF4-FFF2-40B4-BE49-F238E27FC236}">
                <a16:creationId xmlns:a16="http://schemas.microsoft.com/office/drawing/2014/main" id="{071DEA99-AAB8-4F9B-9410-564B227E4CE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14"/>
          <a:srcRect l="3937"/>
          <a:stretch/>
        </p:blipFill>
        <p:spPr>
          <a:xfrm>
            <a:off x="161924" y="869294"/>
            <a:ext cx="7493463" cy="4857186"/>
          </a:xfrm>
          <a:prstGeom prst="rect">
            <a:avLst/>
          </a:prstGeom>
        </p:spPr>
      </p:pic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Přehled ORP s potenciálně rizikovými epidemickými hodnotami</a:t>
            </a:r>
            <a:br>
              <a:rPr lang="pl-PL" sz="2000" dirty="0"/>
            </a:br>
            <a:r>
              <a:rPr lang="pl-PL" sz="2000" dirty="0"/>
              <a:t>(kalkulace s hranicí týdenního záchytu 25 případů / 100tis. obyv.)</a:t>
            </a:r>
            <a:endParaRPr lang="cs-CZ" sz="2000" dirty="0">
              <a:latin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547D1FE-666E-4918-84B0-8DF08342831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1925" y="572648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887356-6FF3-46F8-91DC-C5A4EAEF2DA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1925" y="609863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95E618F-230C-480A-AFD6-92B23C806F3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1925" y="649877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06B787-E621-45F3-8AD2-4A0E9A111C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650" y="563181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denní počty nových případů &gt; 25/100tis. obyv. a s R &lt; 0,95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AE28D02-B0EC-47DD-A50F-BF0460A5DA2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650" y="603079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denní počty nových případů v intervalu 12,5 – 25/100tis. obyv. a s R ≥0,95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B1A4AC8-EF49-4B39-ADF0-D3040A07093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27650" y="640012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denní počty nových případů &gt; 25/100tis. obyv. a zároveň s R ≥0,95</a:t>
            </a:r>
          </a:p>
        </p:txBody>
      </p:sp>
      <p:sp>
        <p:nvSpPr>
          <p:cNvPr id="11" name="TextovéPole 10"/>
          <p:cNvSpPr txBox="1"/>
          <p:nvPr/>
        </p:nvSpPr>
        <p:spPr>
          <a:xfrm>
            <a:off x="341925" y="869295"/>
            <a:ext cx="1796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P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7A6A054B-D084-4B1D-974A-3ABA12143E8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059806" y="846283"/>
            <a:ext cx="46248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ORP s potenciálně rizikovým vývojem v čase narůstají. 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34AB2767-F2BE-4127-9C20-4DB086EEF5F5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</p:nvPr>
        </p:nvGraphicFramePr>
        <p:xfrm>
          <a:off x="10161593" y="1398728"/>
          <a:ext cx="1801107" cy="3821302"/>
        </p:xfrm>
        <a:graphic>
          <a:graphicData uri="http://schemas.openxmlformats.org/drawingml/2006/table">
            <a:tbl>
              <a:tblPr/>
              <a:tblGrid>
                <a:gridCol w="1801107">
                  <a:extLst>
                    <a:ext uri="{9D8B030D-6E8A-4147-A177-3AD203B41FA5}">
                      <a16:colId xmlns:a16="http://schemas.microsoft.com/office/drawing/2014/main" val="2755832524"/>
                    </a:ext>
                  </a:extLst>
                </a:gridCol>
              </a:tblGrid>
              <a:tr h="22690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ah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7543438"/>
                  </a:ext>
                </a:extLst>
              </a:tr>
              <a:tr h="21143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eneš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1893986"/>
                  </a:ext>
                </a:extLst>
              </a:tr>
              <a:tr h="21143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erou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7439511"/>
                  </a:ext>
                </a:extLst>
              </a:tr>
              <a:tr h="21143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randýs n.L.- St.Bolesla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8332052"/>
                  </a:ext>
                </a:extLst>
              </a:tr>
              <a:tr h="21143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Černoš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2445151"/>
                  </a:ext>
                </a:extLst>
              </a:tr>
              <a:tr h="21143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obříš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434484"/>
                  </a:ext>
                </a:extLst>
              </a:tr>
              <a:tr h="21143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eratov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9907001"/>
                  </a:ext>
                </a:extLst>
              </a:tr>
              <a:tr h="21143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oděbrad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451578"/>
                  </a:ext>
                </a:extLst>
              </a:tr>
              <a:tr h="21143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Vimper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4705124"/>
                  </a:ext>
                </a:extLst>
              </a:tr>
              <a:tr h="21143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Kralov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8451289"/>
                  </a:ext>
                </a:extLst>
              </a:tr>
              <a:tr h="21143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epomu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098191"/>
                  </a:ext>
                </a:extLst>
              </a:tr>
              <a:tr h="21143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ýřan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7167177"/>
                  </a:ext>
                </a:extLst>
              </a:tr>
              <a:tr h="21143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lzeň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9900533"/>
                  </a:ext>
                </a:extLst>
              </a:tr>
              <a:tr h="21143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řešt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8840135"/>
                  </a:ext>
                </a:extLst>
              </a:tr>
              <a:tr h="21143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okycan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3220462"/>
                  </a:ext>
                </a:extLst>
              </a:tr>
              <a:tr h="21143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tříbr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6625536"/>
                  </a:ext>
                </a:extLst>
              </a:tr>
              <a:tr h="21143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řelouč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6848352"/>
                  </a:ext>
                </a:extLst>
              </a:tr>
              <a:tr h="21143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Krn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8590842"/>
                  </a:ext>
                </a:extLst>
              </a:tr>
            </a:tbl>
          </a:graphicData>
        </a:graphic>
      </p:graphicFrame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AB50D3D2-AD52-474B-B4EC-EC3B7E35638E}"/>
              </a:ext>
            </a:extLst>
          </p:cNvPr>
          <p:cNvGraphicFramePr>
            <a:graphicFrameLocks noGrp="1"/>
          </p:cNvGraphicFramePr>
          <p:nvPr>
            <p:custDataLst>
              <p:tags r:id="rId11"/>
            </p:custDataLst>
          </p:nvPr>
        </p:nvGraphicFramePr>
        <p:xfrm>
          <a:off x="8469253" y="1398728"/>
          <a:ext cx="1684016" cy="5230675"/>
        </p:xfrm>
        <a:graphic>
          <a:graphicData uri="http://schemas.openxmlformats.org/drawingml/2006/table">
            <a:tbl>
              <a:tblPr/>
              <a:tblGrid>
                <a:gridCol w="1684016">
                  <a:extLst>
                    <a:ext uri="{9D8B030D-6E8A-4147-A177-3AD203B41FA5}">
                      <a16:colId xmlns:a16="http://schemas.microsoft.com/office/drawing/2014/main" val="3038426710"/>
                    </a:ext>
                  </a:extLst>
                </a:gridCol>
              </a:tblGrid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Český Brod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5930358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ořovice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96457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Kladno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5312106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Kralupy nad Vltavou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8484962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Kutná Hora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1770551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ysá nad Labem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371200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ladá Boleslav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3738804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Říčany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769102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Votice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2952689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achatice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0637096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oršovský Týn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9752921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ušice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9821844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Kadaň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784990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ovosice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1112057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Varnsdorf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7335685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radec Králové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96281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ychnov nad Kněžnou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083505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vitavy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73068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Vysoké Mýto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2075850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avlíčkův Brod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0984363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hotěboř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7781960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řebíč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1297199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ikulov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1167534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renštát pod Radhoštěm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1396038"/>
                  </a:ext>
                </a:extLst>
              </a:tr>
              <a:tr h="20922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řinec</a:t>
                      </a:r>
                    </a:p>
                  </a:txBody>
                  <a:tcPr marL="8703" marR="8703" marT="8703" marB="0" anchor="b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549936"/>
                  </a:ext>
                </a:extLst>
              </a:tr>
            </a:tbl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3883E89B-F05E-4256-BDC7-C8C6839B6037}"/>
              </a:ext>
            </a:extLst>
          </p:cNvPr>
          <p:cNvGraphicFramePr>
            <a:graphicFrameLocks noGrp="1"/>
          </p:cNvGraphicFramePr>
          <p:nvPr>
            <p:custDataLst>
              <p:tags r:id="rId12"/>
            </p:custDataLst>
          </p:nvPr>
        </p:nvGraphicFramePr>
        <p:xfrm>
          <a:off x="7113864" y="1398728"/>
          <a:ext cx="1355389" cy="583880"/>
        </p:xfrm>
        <a:graphic>
          <a:graphicData uri="http://schemas.openxmlformats.org/drawingml/2006/table">
            <a:tbl>
              <a:tblPr/>
              <a:tblGrid>
                <a:gridCol w="1355389">
                  <a:extLst>
                    <a:ext uri="{9D8B030D-6E8A-4147-A177-3AD203B41FA5}">
                      <a16:colId xmlns:a16="http://schemas.microsoft.com/office/drawing/2014/main" val="2430084143"/>
                    </a:ext>
                  </a:extLst>
                </a:gridCol>
              </a:tblGrid>
              <a:tr h="12598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v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9708791"/>
                  </a:ext>
                </a:extLst>
              </a:tr>
              <a:tr h="19907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áměšť nad Oslavou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0037221"/>
                  </a:ext>
                </a:extLst>
              </a:tr>
              <a:tr h="12598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blunk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63932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47868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n-lt"/>
              </a:rPr>
              <a:t>Modelov</a:t>
            </a:r>
            <a:r>
              <a:rPr lang="cs-CZ" dirty="0">
                <a:latin typeface="+mn-lt"/>
              </a:rPr>
              <a:t>é scénáře: </a:t>
            </a:r>
            <a:r>
              <a:rPr lang="cs-CZ" dirty="0" err="1">
                <a:latin typeface="+mn-lt"/>
              </a:rPr>
              <a:t>7denní</a:t>
            </a:r>
            <a:r>
              <a:rPr lang="cs-CZ" dirty="0">
                <a:latin typeface="+mn-lt"/>
              </a:rPr>
              <a:t> hodnoty na 100 tisíc obyvatel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818089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75471" y="89453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447296" y="867747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973124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043309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196431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424930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275634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1. 6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558187" y="35533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77452" y="46216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" name="Šipka dolů 2"/>
          <p:cNvSpPr/>
          <p:nvPr/>
        </p:nvSpPr>
        <p:spPr>
          <a:xfrm>
            <a:off x="10420350" y="3075122"/>
            <a:ext cx="738002" cy="44991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7B8FBEB6-C6A6-4758-B0C8-FC0B082E2D0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257275" y="1952380"/>
            <a:ext cx="63373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nově nakažených osob celorepublikově rostou v důsledku vývoje v Praze a v některých okresech Středočeského a Plzeňského kraje.</a:t>
            </a:r>
          </a:p>
        </p:txBody>
      </p:sp>
    </p:spTree>
    <p:extLst>
      <p:ext uri="{BB962C8B-B14F-4D97-AF65-F5344CB8AC3E}">
        <p14:creationId xmlns:p14="http://schemas.microsoft.com/office/powerpoint/2010/main" val="35576557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4C5A20A0-A260-40EF-BD1E-C982250FE1F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9418252"/>
              </p:ext>
            </p:extLst>
          </p:nvPr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</a:t>
            </a: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ých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cientů klesají</a:t>
            </a:r>
            <a:b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oste i dostupná kapacita lůžek, včetně JIP</a:t>
            </a:r>
            <a:endParaRPr kumimoji="0" lang="cs-CZ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Šipka doprava 7">
            <a:extLst>
              <a:ext uri="{FF2B5EF4-FFF2-40B4-BE49-F238E27FC236}">
                <a16:creationId xmlns:a16="http://schemas.microsoft.com/office/drawing/2014/main" id="{A73723C6-25FD-4433-AFB1-043FE8AB577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5400000">
            <a:off x="10019398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26779AC8-5DFA-4636-8E54-5D5708628E65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44368885"/>
              </p:ext>
            </p:extLst>
          </p:nvPr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.7.2021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  <p:sp>
        <p:nvSpPr>
          <p:cNvPr id="10" name="Šipka doprava 6">
            <a:extLst>
              <a:ext uri="{FF2B5EF4-FFF2-40B4-BE49-F238E27FC236}">
                <a16:creationId xmlns:a16="http://schemas.microsoft.com/office/drawing/2014/main" id="{2921A4FD-8475-4DAE-BED7-73C17A115A3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5400000">
            <a:off x="10010559" y="5080158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842067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Prováděné testy a jejich pozitivita</a:t>
            </a:r>
          </a:p>
        </p:txBody>
      </p:sp>
    </p:spTree>
    <p:extLst>
      <p:ext uri="{BB962C8B-B14F-4D97-AF65-F5344CB8AC3E}">
        <p14:creationId xmlns:p14="http://schemas.microsoft.com/office/powerpoint/2010/main" val="7470965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hart 4">
            <a:extLst>
              <a:ext uri="{FF2B5EF4-FFF2-40B4-BE49-F238E27FC236}">
                <a16:creationId xmlns:a16="http://schemas.microsoft.com/office/drawing/2014/main" id="{4017EDDB-B32A-4BE0-898A-6E922001600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81739" y="2"/>
            <a:ext cx="777683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 err="1"/>
              <a:t>čty</a:t>
            </a:r>
            <a:r>
              <a:rPr lang="cs-CZ" dirty="0"/>
              <a:t> realizovaných PCR testů v čase </a:t>
            </a:r>
          </a:p>
        </p:txBody>
      </p:sp>
      <p:sp>
        <p:nvSpPr>
          <p:cNvPr id="32" name="Zahnutá šipka nahoru 25">
            <a:extLst>
              <a:ext uri="{FF2B5EF4-FFF2-40B4-BE49-F238E27FC236}">
                <a16:creationId xmlns:a16="http://schemas.microsoft.com/office/drawing/2014/main" id="{0BBE6A33-48F0-49E1-9234-59BBC97607D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03450" y="2464775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C140FC7B-E4FD-4E67-92ED-DBF34CACB88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172865" y="2464775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FEEB2FF7-BE27-405C-9A19-734E8CFD46B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56206" y="2493685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4F4AAAE2-F558-418C-BAA2-D0B97D25351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139548" y="2491254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201842" y="618314"/>
            <a:ext cx="1177832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CR testů se stále udržuje na průměrné denní kapacitě vyšší než 28 000</a:t>
            </a:r>
          </a:p>
        </p:txBody>
      </p:sp>
      <p:graphicFrame>
        <p:nvGraphicFramePr>
          <p:cNvPr id="16" name="Tabulka 8">
            <a:extLst>
              <a:ext uri="{FF2B5EF4-FFF2-40B4-BE49-F238E27FC236}">
                <a16:creationId xmlns:a16="http://schemas.microsoft.com/office/drawing/2014/main" id="{F0F9C019-F3F8-4327-9BE1-DF88A29A8EE7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182485" y="1049201"/>
          <a:ext cx="11797686" cy="1483320"/>
        </p:xfrm>
        <a:graphic>
          <a:graphicData uri="http://schemas.openxmlformats.org/drawingml/2006/table">
            <a:tbl>
              <a:tblPr firstRow="1" bandRow="1"/>
              <a:tblGrid>
                <a:gridCol w="655427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2353101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126272650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45180415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37331450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49886245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91621254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0060369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09464290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686944603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932876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90519118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856643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9525" marR="9525" marT="9525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9525" marR="9525" marT="9525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9525" marR="9525" marT="9525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9525" marR="9525" marT="9525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9525" marR="9525" marT="9525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9525" marR="9525" marT="9525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. 6.–8. 6. </a:t>
                      </a:r>
                    </a:p>
                  </a:txBody>
                  <a:tcPr marL="9525" marR="9525" marT="9525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 6.–15. 6. </a:t>
                      </a:r>
                    </a:p>
                  </a:txBody>
                  <a:tcPr marL="9525" marR="9525" marT="9525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6.–22. 6. </a:t>
                      </a:r>
                    </a:p>
                  </a:txBody>
                  <a:tcPr marL="9525" marR="9525" marT="9525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6.–29. 6. </a:t>
                      </a:r>
                    </a:p>
                  </a:txBody>
                  <a:tcPr marL="9525" marR="9525" marT="9525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6.–6. 7. </a:t>
                      </a:r>
                    </a:p>
                  </a:txBody>
                  <a:tcPr marL="9525" marR="9525" marT="9525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. 7.–13. 7. </a:t>
                      </a:r>
                    </a:p>
                  </a:txBody>
                  <a:tcPr marL="9525" marR="9525" marT="9525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785 testů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748 testů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729 testů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700 testů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344 testů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176 testů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913717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4,4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8,7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8,0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6,2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,1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343836"/>
                  </a:ext>
                </a:extLst>
              </a:tr>
            </a:tbl>
          </a:graphicData>
        </a:graphic>
      </p:graphicFrame>
      <p:sp>
        <p:nvSpPr>
          <p:cNvPr id="11" name="Zahnutá šipka nahoru 25">
            <a:extLst>
              <a:ext uri="{FF2B5EF4-FFF2-40B4-BE49-F238E27FC236}">
                <a16:creationId xmlns:a16="http://schemas.microsoft.com/office/drawing/2014/main" id="{4DA51123-8A80-4C92-A1EE-B24AEFDBC90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162231" y="2488331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99865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77683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 err="1"/>
              <a:t>čty</a:t>
            </a:r>
            <a:r>
              <a:rPr lang="cs-CZ" dirty="0"/>
              <a:t> realizovaných </a:t>
            </a:r>
            <a:r>
              <a:rPr lang="en-US" dirty="0"/>
              <a:t>AG</a:t>
            </a:r>
            <a:r>
              <a:rPr lang="cs-CZ" dirty="0"/>
              <a:t> testů v čase</a:t>
            </a:r>
          </a:p>
        </p:txBody>
      </p:sp>
      <p:sp>
        <p:nvSpPr>
          <p:cNvPr id="32" name="Zahnutá šipka nahoru 25">
            <a:extLst>
              <a:ext uri="{FF2B5EF4-FFF2-40B4-BE49-F238E27FC236}">
                <a16:creationId xmlns:a16="http://schemas.microsoft.com/office/drawing/2014/main" id="{0BBE6A33-48F0-49E1-9234-59BBC97607D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03450" y="2464775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C140FC7B-E4FD-4E67-92ED-DBF34CACB88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172865" y="2464775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Zahnutá šipka nahoru 25">
            <a:extLst>
              <a:ext uri="{FF2B5EF4-FFF2-40B4-BE49-F238E27FC236}">
                <a16:creationId xmlns:a16="http://schemas.microsoft.com/office/drawing/2014/main" id="{595E001A-4FCA-4DDB-8C25-BFD9173BD47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16865" y="2464775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FEEB2FF7-BE27-405C-9A19-734E8CFD46B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086280" y="2464775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4F4AAAE2-F558-418C-BAA2-D0B97D25351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56914" y="2464775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Chart 4">
            <a:extLst>
              <a:ext uri="{FF2B5EF4-FFF2-40B4-BE49-F238E27FC236}">
                <a16:creationId xmlns:a16="http://schemas.microsoft.com/office/drawing/2014/main" id="{4017EDDB-B32A-4BE0-898A-6E9220016009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3" name="TextovéPole 12"/>
          <p:cNvSpPr txBox="1"/>
          <p:nvPr>
            <p:custDataLst>
              <p:tags r:id="rId9"/>
            </p:custDataLst>
          </p:nvPr>
        </p:nvSpPr>
        <p:spPr>
          <a:xfrm>
            <a:off x="211829" y="587536"/>
            <a:ext cx="117783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AG testů se aktuálně drží na průměru cca 50 000 denně.</a:t>
            </a:r>
          </a:p>
        </p:txBody>
      </p:sp>
      <p:graphicFrame>
        <p:nvGraphicFramePr>
          <p:cNvPr id="15" name="Tabulka 8">
            <a:extLst>
              <a:ext uri="{FF2B5EF4-FFF2-40B4-BE49-F238E27FC236}">
                <a16:creationId xmlns:a16="http://schemas.microsoft.com/office/drawing/2014/main" id="{27EDA83E-1938-4257-9288-4A15BE038CBC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</p:nvPr>
        </p:nvGraphicFramePr>
        <p:xfrm>
          <a:off x="182485" y="1049201"/>
          <a:ext cx="11797686" cy="1483320"/>
        </p:xfrm>
        <a:graphic>
          <a:graphicData uri="http://schemas.openxmlformats.org/drawingml/2006/table">
            <a:tbl>
              <a:tblPr firstRow="1" bandRow="1"/>
              <a:tblGrid>
                <a:gridCol w="655427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2353101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126272650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45180415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37331450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49886245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91621254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0060369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09464290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686944603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932876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90519118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856643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9525" marR="9525" marT="9525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9525" marR="9525" marT="9525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9525" marR="9525" marT="9525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9525" marR="9525" marT="9525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9525" marR="9525" marT="9525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9525" marR="9525" marT="9525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. 6.–8. 6. </a:t>
                      </a:r>
                    </a:p>
                  </a:txBody>
                  <a:tcPr marL="9525" marR="9525" marT="9525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 6.–15. 6. </a:t>
                      </a:r>
                    </a:p>
                  </a:txBody>
                  <a:tcPr marL="9525" marR="9525" marT="9525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6.–22. 6. </a:t>
                      </a:r>
                    </a:p>
                  </a:txBody>
                  <a:tcPr marL="9525" marR="9525" marT="9525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6.–29. 6. </a:t>
                      </a:r>
                    </a:p>
                  </a:txBody>
                  <a:tcPr marL="9525" marR="9525" marT="9525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6.–6. 7. </a:t>
                      </a:r>
                    </a:p>
                  </a:txBody>
                  <a:tcPr marL="9525" marR="9525" marT="9525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. 7.–13. 7. </a:t>
                      </a:r>
                    </a:p>
                  </a:txBody>
                  <a:tcPr marL="9525" marR="9525" marT="9525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353 testů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 949 testů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 145 testů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 092 testů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 558 testů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 068 testů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913717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1,7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9,0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6,8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0,9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6,0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343836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5648737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a klinické indikace 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C5CEEB84-F215-46CC-8B8D-4DB20680ADD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469406" y="576002"/>
          <a:ext cx="3153360" cy="215539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7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7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7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7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7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7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7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 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,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335404" y="2683942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E6739296-498B-4609-8AC9-F453AFBEBA07}"/>
              </a:ext>
            </a:extLst>
          </p:cNvPr>
          <p:cNvSpPr txBox="1"/>
          <p:nvPr/>
        </p:nvSpPr>
        <p:spPr>
          <a:xfrm>
            <a:off x="6259598" y="1310749"/>
            <a:ext cx="5706722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posledních dnech mírně narostla relativní pozitivita diagnostických testů, stále se avšak drží v bezpečných hodnotách. Nárůst se týká zejména mladé populace pod 30 let. </a:t>
            </a:r>
          </a:p>
        </p:txBody>
      </p:sp>
      <p:graphicFrame>
        <p:nvGraphicFramePr>
          <p:cNvPr id="8" name="Chart 4">
            <a:extLst>
              <a:ext uri="{FF2B5EF4-FFF2-40B4-BE49-F238E27FC236}">
                <a16:creationId xmlns:a16="http://schemas.microsoft.com/office/drawing/2014/main" id="{0CE62920-6BE6-4A94-84F9-64889CD240D3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9990887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A11C1904-4002-4181-A5AD-2C063C768D3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433880" y="549708"/>
          <a:ext cx="3153360" cy="215539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7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7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7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7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7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7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7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 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,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341602" y="2676827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A806232-4DF9-4C02-8398-864BF7B1D95C}"/>
              </a:ext>
            </a:extLst>
          </p:cNvPr>
          <p:cNvSpPr txBox="1"/>
          <p:nvPr/>
        </p:nvSpPr>
        <p:spPr>
          <a:xfrm>
            <a:off x="6287966" y="1707330"/>
            <a:ext cx="523229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epidemiologicky indikovaných testů zůstává na velmi nízkých hodnotách</a:t>
            </a:r>
          </a:p>
        </p:txBody>
      </p:sp>
      <p:graphicFrame>
        <p:nvGraphicFramePr>
          <p:cNvPr id="8" name="Chart 4">
            <a:extLst>
              <a:ext uri="{FF2B5EF4-FFF2-40B4-BE49-F238E27FC236}">
                <a16:creationId xmlns:a16="http://schemas.microsoft.com/office/drawing/2014/main" id="{B19C98F2-C716-4D0C-9848-C5901F545AD2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340666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ukazuje zastavení poklesu a opětovné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šíření epidemie</a:t>
            </a:r>
          </a:p>
        </p:txBody>
      </p:sp>
      <p:graphicFrame>
        <p:nvGraphicFramePr>
          <p:cNvPr id="10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57147" y="2298584"/>
          <a:ext cx="12030075" cy="46121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CC0ACDB7-E02C-4ADC-B3C0-B39FD631BBF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922214" y="631457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 6.–15. 6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6.–22. 6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6.–29. 6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6.–6. 7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. 7.–13. 7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0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,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2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79,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308715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R pro ČR: 1,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47681" y="2133258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713141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 lnSpcReduction="10000"/>
          </a:bodyPr>
          <a:lstStyle/>
          <a:p>
            <a:r>
              <a:rPr lang="cs-CZ" sz="5000" b="1" dirty="0"/>
              <a:t>Příloha</a:t>
            </a:r>
          </a:p>
          <a:p>
            <a:r>
              <a:rPr lang="cs-CZ" sz="5000" b="1" dirty="0"/>
              <a:t>Aktualizovaný vývoj zátěže </a:t>
            </a:r>
          </a:p>
          <a:p>
            <a:r>
              <a:rPr lang="cs-CZ" sz="5000" b="1" dirty="0"/>
              <a:t>dle věkových kategorií mladých lidí</a:t>
            </a:r>
          </a:p>
        </p:txBody>
      </p:sp>
    </p:spTree>
    <p:extLst>
      <p:ext uri="{BB962C8B-B14F-4D97-AF65-F5344CB8AC3E}">
        <p14:creationId xmlns:p14="http://schemas.microsoft.com/office/powerpoint/2010/main" val="400010496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1475" y="3004472"/>
            <a:ext cx="8050306" cy="3143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55986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13.7.</a:t>
            </a:r>
            <a:r>
              <a:rPr lang="en-US" sz="2000" dirty="0">
                <a:latin typeface="+mn-lt"/>
              </a:rPr>
              <a:t>: 5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1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13" name="Chart 5">
            <a:extLst>
              <a:ext uri="{FF2B5EF4-FFF2-40B4-BE49-F238E27FC236}">
                <a16:creationId xmlns:a16="http://schemas.microsoft.com/office/drawing/2014/main" id="{6FB5FCE5-711C-4C26-8879-27C613FC76D5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4849396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C3199B8A-F6F3-4DFE-BF90-70294CC448A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729748" y="2149019"/>
            <a:ext cx="3270777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výšený 7denní počet pozitivních záchytů </a:t>
            </a:r>
            <a:b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100tis. dětí v této věkové kategorii registruje Pardubický kraj, Plzeňský kraj, Hl. m. Praha a Středočeský kraj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Rectangle 14">
            <a:extLst>
              <a:ext uri="{FF2B5EF4-FFF2-40B4-BE49-F238E27FC236}">
                <a16:creationId xmlns:a16="http://schemas.microsoft.com/office/drawing/2014/main" id="{3E8997C8-A2E7-4890-A586-B593F0FF343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Rectangle 15">
            <a:extLst>
              <a:ext uri="{FF2B5EF4-FFF2-40B4-BE49-F238E27FC236}">
                <a16:creationId xmlns:a16="http://schemas.microsoft.com/office/drawing/2014/main" id="{47A06C4E-0A27-47D8-BCC6-3883AAEE5BF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xtBox 16">
            <a:extLst>
              <a:ext uri="{FF2B5EF4-FFF2-40B4-BE49-F238E27FC236}">
                <a16:creationId xmlns:a16="http://schemas.microsoft.com/office/drawing/2014/main" id="{49AC28EB-F5AA-4332-A257-15B1D05DC64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344965" y="840172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27" name="Rectangle 20">
            <a:extLst>
              <a:ext uri="{FF2B5EF4-FFF2-40B4-BE49-F238E27FC236}">
                <a16:creationId xmlns:a16="http://schemas.microsoft.com/office/drawing/2014/main" id="{DBC47D66-8C9F-43A2-825F-7BCC2813B18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21">
            <a:extLst>
              <a:ext uri="{FF2B5EF4-FFF2-40B4-BE49-F238E27FC236}">
                <a16:creationId xmlns:a16="http://schemas.microsoft.com/office/drawing/2014/main" id="{367C8D1D-5192-4819-9FA6-48C752179436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580324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6.2021</a:t>
            </a:r>
          </a:p>
        </p:txBody>
      </p:sp>
      <p:sp>
        <p:nvSpPr>
          <p:cNvPr id="32" name="Rectangle 20">
            <a:extLst>
              <a:ext uri="{FF2B5EF4-FFF2-40B4-BE49-F238E27FC236}">
                <a16:creationId xmlns:a16="http://schemas.microsoft.com/office/drawing/2014/main" id="{5537C3B7-F715-4306-9950-1270004832C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21">
            <a:extLst>
              <a:ext uri="{FF2B5EF4-FFF2-40B4-BE49-F238E27FC236}">
                <a16:creationId xmlns:a16="http://schemas.microsoft.com/office/drawing/2014/main" id="{61088984-AAFE-4028-8B0F-1EF83E4FABA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7.2021</a:t>
            </a:r>
          </a:p>
        </p:txBody>
      </p:sp>
      <p:sp>
        <p:nvSpPr>
          <p:cNvPr id="34" name="TextBox 21">
            <a:extLst>
              <a:ext uri="{FF2B5EF4-FFF2-40B4-BE49-F238E27FC236}">
                <a16:creationId xmlns:a16="http://schemas.microsoft.com/office/drawing/2014/main" id="{6020A04D-603E-4D9A-A16E-908A30E31851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639032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7.2021</a:t>
            </a:r>
          </a:p>
        </p:txBody>
      </p:sp>
    </p:spTree>
    <p:extLst>
      <p:ext uri="{BB962C8B-B14F-4D97-AF65-F5344CB8AC3E}">
        <p14:creationId xmlns:p14="http://schemas.microsoft.com/office/powerpoint/2010/main" val="253784196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85641" y="3345228"/>
            <a:ext cx="8050306" cy="30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13.7.</a:t>
            </a:r>
            <a:r>
              <a:rPr lang="en-US" sz="2000" dirty="0">
                <a:latin typeface="+mn-lt"/>
              </a:rPr>
              <a:t>: 12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</a:t>
            </a:r>
            <a:r>
              <a:rPr lang="cs-CZ" sz="2000" dirty="0">
                <a:latin typeface="+mn-lt"/>
              </a:rPr>
              <a:t>5</a:t>
            </a:r>
            <a:r>
              <a:rPr lang="en-US" sz="2000" dirty="0">
                <a:latin typeface="+mn-lt"/>
              </a:rPr>
              <a:t>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65FD74B0-BFEF-4240-A12D-B991B7F246B1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4989338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3BB4D4F4-E08B-4EAC-A9E6-A9370CD80C3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549748" y="1907298"/>
            <a:ext cx="342759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výšený 7denní počet pozitivních záchytů </a:t>
            </a:r>
            <a:b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100tis. dětí v této věkové kategorii registruje Hl. m. Praha, Vysočina, Pardubický kraj.</a:t>
            </a:r>
          </a:p>
        </p:txBody>
      </p:sp>
      <p:sp>
        <p:nvSpPr>
          <p:cNvPr id="32" name="Rectangle 14">
            <a:extLst>
              <a:ext uri="{FF2B5EF4-FFF2-40B4-BE49-F238E27FC236}">
                <a16:creationId xmlns:a16="http://schemas.microsoft.com/office/drawing/2014/main" id="{9E17C7D9-2A44-418B-A194-187E9F452EE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angle 15">
            <a:extLst>
              <a:ext uri="{FF2B5EF4-FFF2-40B4-BE49-F238E27FC236}">
                <a16:creationId xmlns:a16="http://schemas.microsoft.com/office/drawing/2014/main" id="{D4859556-B68A-4F23-9579-07D7B68ACE6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Box 16">
            <a:extLst>
              <a:ext uri="{FF2B5EF4-FFF2-40B4-BE49-F238E27FC236}">
                <a16:creationId xmlns:a16="http://schemas.microsoft.com/office/drawing/2014/main" id="{A234FE2C-CC7D-47EA-90B6-9DE923D5AC0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344965" y="840172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35" name="Rectangle 20">
            <a:extLst>
              <a:ext uri="{FF2B5EF4-FFF2-40B4-BE49-F238E27FC236}">
                <a16:creationId xmlns:a16="http://schemas.microsoft.com/office/drawing/2014/main" id="{0420EA72-4ADF-415F-AF81-F367D5CC205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TextBox 21">
            <a:extLst>
              <a:ext uri="{FF2B5EF4-FFF2-40B4-BE49-F238E27FC236}">
                <a16:creationId xmlns:a16="http://schemas.microsoft.com/office/drawing/2014/main" id="{BA5FE030-749C-42E8-B17A-83464E0CC3E9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580324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6.2021</a:t>
            </a:r>
          </a:p>
        </p:txBody>
      </p:sp>
      <p:sp>
        <p:nvSpPr>
          <p:cNvPr id="37" name="Rectangle 20">
            <a:extLst>
              <a:ext uri="{FF2B5EF4-FFF2-40B4-BE49-F238E27FC236}">
                <a16:creationId xmlns:a16="http://schemas.microsoft.com/office/drawing/2014/main" id="{7F9128A7-5350-4C99-ABDE-6872BBCDAB8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Box 21">
            <a:extLst>
              <a:ext uri="{FF2B5EF4-FFF2-40B4-BE49-F238E27FC236}">
                <a16:creationId xmlns:a16="http://schemas.microsoft.com/office/drawing/2014/main" id="{8F130A09-7EF9-47DC-931F-CBFDD76CE47F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7.2021</a:t>
            </a:r>
          </a:p>
        </p:txBody>
      </p:sp>
      <p:sp>
        <p:nvSpPr>
          <p:cNvPr id="39" name="TextBox 21">
            <a:extLst>
              <a:ext uri="{FF2B5EF4-FFF2-40B4-BE49-F238E27FC236}">
                <a16:creationId xmlns:a16="http://schemas.microsoft.com/office/drawing/2014/main" id="{8C50F218-951C-4185-8491-81A374E9F469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639032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7.2021</a:t>
            </a:r>
          </a:p>
        </p:txBody>
      </p:sp>
    </p:spTree>
    <p:extLst>
      <p:ext uri="{BB962C8B-B14F-4D97-AF65-F5344CB8AC3E}">
        <p14:creationId xmlns:p14="http://schemas.microsoft.com/office/powerpoint/2010/main" val="339765424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9315" y="2645949"/>
            <a:ext cx="8050306" cy="30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13.7.</a:t>
            </a:r>
            <a:r>
              <a:rPr lang="en-US" sz="2000" dirty="0">
                <a:latin typeface="+mn-lt"/>
              </a:rPr>
              <a:t>: 1</a:t>
            </a:r>
            <a:r>
              <a:rPr lang="cs-CZ" sz="2000" dirty="0">
                <a:latin typeface="+mn-lt"/>
              </a:rPr>
              <a:t>6–</a:t>
            </a:r>
            <a:r>
              <a:rPr lang="en-US" sz="2000" dirty="0">
                <a:latin typeface="+mn-lt"/>
              </a:rPr>
              <a:t>19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65FD74B0-BFEF-4240-A12D-B991B7F246B1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4989338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3BB4D4F4-E08B-4EAC-A9E6-A9370CD80C3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639748" y="2167029"/>
            <a:ext cx="342759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výšený 7denní počet pozitivních záchytů </a:t>
            </a:r>
            <a:b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100tis. dětí v této věkové kategorii registruje Hl. m. Praha, dále kraj Plzeňský a Středočeský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átěž této věkové kategorie v těchto krajích významně roste v čase.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2" name="Rectangle 14">
            <a:extLst>
              <a:ext uri="{FF2B5EF4-FFF2-40B4-BE49-F238E27FC236}">
                <a16:creationId xmlns:a16="http://schemas.microsoft.com/office/drawing/2014/main" id="{EA6A406A-C661-42B5-BBFC-33B92B97D48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angle 15">
            <a:extLst>
              <a:ext uri="{FF2B5EF4-FFF2-40B4-BE49-F238E27FC236}">
                <a16:creationId xmlns:a16="http://schemas.microsoft.com/office/drawing/2014/main" id="{0D902561-A8EB-4750-9983-BF82DDBB28F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Box 16">
            <a:extLst>
              <a:ext uri="{FF2B5EF4-FFF2-40B4-BE49-F238E27FC236}">
                <a16:creationId xmlns:a16="http://schemas.microsoft.com/office/drawing/2014/main" id="{651BC136-9277-4AE5-B516-D30F9EA2413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344965" y="840172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5.2021</a:t>
            </a:r>
          </a:p>
        </p:txBody>
      </p:sp>
      <p:sp>
        <p:nvSpPr>
          <p:cNvPr id="35" name="Rectangle 20">
            <a:extLst>
              <a:ext uri="{FF2B5EF4-FFF2-40B4-BE49-F238E27FC236}">
                <a16:creationId xmlns:a16="http://schemas.microsoft.com/office/drawing/2014/main" id="{1347DB51-C0E1-455C-88FF-160C24502C4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TextBox 21">
            <a:extLst>
              <a:ext uri="{FF2B5EF4-FFF2-40B4-BE49-F238E27FC236}">
                <a16:creationId xmlns:a16="http://schemas.microsoft.com/office/drawing/2014/main" id="{4445497F-A440-4CE6-AF64-9446D8160F9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580324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6.2021</a:t>
            </a:r>
          </a:p>
        </p:txBody>
      </p:sp>
      <p:sp>
        <p:nvSpPr>
          <p:cNvPr id="37" name="Rectangle 20">
            <a:extLst>
              <a:ext uri="{FF2B5EF4-FFF2-40B4-BE49-F238E27FC236}">
                <a16:creationId xmlns:a16="http://schemas.microsoft.com/office/drawing/2014/main" id="{B4C9B785-1505-4FDA-B4D6-29AA09C42E7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Box 21">
            <a:extLst>
              <a:ext uri="{FF2B5EF4-FFF2-40B4-BE49-F238E27FC236}">
                <a16:creationId xmlns:a16="http://schemas.microsoft.com/office/drawing/2014/main" id="{B708C462-AFD8-48C0-AD62-E8F4F8F0E1F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7.2021</a:t>
            </a:r>
          </a:p>
        </p:txBody>
      </p:sp>
      <p:sp>
        <p:nvSpPr>
          <p:cNvPr id="39" name="TextBox 21">
            <a:extLst>
              <a:ext uri="{FF2B5EF4-FFF2-40B4-BE49-F238E27FC236}">
                <a16:creationId xmlns:a16="http://schemas.microsoft.com/office/drawing/2014/main" id="{C11664E6-CBB7-4E5E-839F-F47B476661A5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639032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7.2021</a:t>
            </a:r>
          </a:p>
        </p:txBody>
      </p:sp>
    </p:spTree>
    <p:extLst>
      <p:ext uri="{BB962C8B-B14F-4D97-AF65-F5344CB8AC3E}">
        <p14:creationId xmlns:p14="http://schemas.microsoft.com/office/powerpoint/2010/main" val="43466176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9315" y="2645949"/>
            <a:ext cx="8050306" cy="30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13.7.</a:t>
            </a:r>
            <a:r>
              <a:rPr lang="en-US" sz="2000" dirty="0">
                <a:latin typeface="+mn-lt"/>
              </a:rPr>
              <a:t>: </a:t>
            </a:r>
            <a:r>
              <a:rPr lang="cs-CZ" sz="2000" dirty="0">
                <a:latin typeface="+mn-lt"/>
              </a:rPr>
              <a:t>20–29</a:t>
            </a:r>
            <a:r>
              <a:rPr lang="en-US" sz="2000" dirty="0">
                <a:latin typeface="+mn-lt"/>
              </a:rPr>
              <a:t>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65FD74B0-BFEF-4240-A12D-B991B7F246B1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4989338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3BB4D4F4-E08B-4EAC-A9E6-A9370CD80C3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639748" y="2167029"/>
            <a:ext cx="342759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výšený 7denní počet pozitivních záchytů </a:t>
            </a:r>
            <a:b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100tis. v této věkové kategorii registruje Plzeňský kraj a Hl. m. </a:t>
            </a:r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aha. Zátěž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éto věkové kategorie v těchto krajích významně roste v čas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2" name="Rectangle 14">
            <a:extLst>
              <a:ext uri="{FF2B5EF4-FFF2-40B4-BE49-F238E27FC236}">
                <a16:creationId xmlns:a16="http://schemas.microsoft.com/office/drawing/2014/main" id="{EA6A406A-C661-42B5-BBFC-33B92B97D48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angle 15">
            <a:extLst>
              <a:ext uri="{FF2B5EF4-FFF2-40B4-BE49-F238E27FC236}">
                <a16:creationId xmlns:a16="http://schemas.microsoft.com/office/drawing/2014/main" id="{0D902561-A8EB-4750-9983-BF82DDBB28F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Box 16">
            <a:extLst>
              <a:ext uri="{FF2B5EF4-FFF2-40B4-BE49-F238E27FC236}">
                <a16:creationId xmlns:a16="http://schemas.microsoft.com/office/drawing/2014/main" id="{651BC136-9277-4AE5-B516-D30F9EA2413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344965" y="840172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5.2021</a:t>
            </a:r>
          </a:p>
        </p:txBody>
      </p:sp>
      <p:sp>
        <p:nvSpPr>
          <p:cNvPr id="35" name="Rectangle 20">
            <a:extLst>
              <a:ext uri="{FF2B5EF4-FFF2-40B4-BE49-F238E27FC236}">
                <a16:creationId xmlns:a16="http://schemas.microsoft.com/office/drawing/2014/main" id="{1347DB51-C0E1-455C-88FF-160C24502C4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TextBox 21">
            <a:extLst>
              <a:ext uri="{FF2B5EF4-FFF2-40B4-BE49-F238E27FC236}">
                <a16:creationId xmlns:a16="http://schemas.microsoft.com/office/drawing/2014/main" id="{4445497F-A440-4CE6-AF64-9446D8160F9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580324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6.2021</a:t>
            </a:r>
          </a:p>
        </p:txBody>
      </p:sp>
      <p:sp>
        <p:nvSpPr>
          <p:cNvPr id="37" name="Rectangle 20">
            <a:extLst>
              <a:ext uri="{FF2B5EF4-FFF2-40B4-BE49-F238E27FC236}">
                <a16:creationId xmlns:a16="http://schemas.microsoft.com/office/drawing/2014/main" id="{B4C9B785-1505-4FDA-B4D6-29AA09C42E7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Box 21">
            <a:extLst>
              <a:ext uri="{FF2B5EF4-FFF2-40B4-BE49-F238E27FC236}">
                <a16:creationId xmlns:a16="http://schemas.microsoft.com/office/drawing/2014/main" id="{B708C462-AFD8-48C0-AD62-E8F4F8F0E1F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7.2021</a:t>
            </a:r>
          </a:p>
        </p:txBody>
      </p:sp>
      <p:sp>
        <p:nvSpPr>
          <p:cNvPr id="39" name="TextBox 21">
            <a:extLst>
              <a:ext uri="{FF2B5EF4-FFF2-40B4-BE49-F238E27FC236}">
                <a16:creationId xmlns:a16="http://schemas.microsoft.com/office/drawing/2014/main" id="{C11664E6-CBB7-4E5E-839F-F47B476661A5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639032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7.2021</a:t>
            </a:r>
          </a:p>
        </p:txBody>
      </p:sp>
    </p:spTree>
    <p:extLst>
      <p:ext uri="{BB962C8B-B14F-4D97-AF65-F5344CB8AC3E}">
        <p14:creationId xmlns:p14="http://schemas.microsoft.com/office/powerpoint/2010/main" val="5818076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1392507" y="1602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3842" y="755669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dlouhodobě klesla ve všech věkových kategoriích dospělých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znamně i v kategoriích seniorního věku – 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liv očkování </a:t>
            </a: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326153" y="3685885"/>
            <a:ext cx="3859149" cy="11985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posledních cca 14 dnech se zvyšuje počet nově zachycených nákaz u mladých dospělých ve věku nad 18 let. </a:t>
            </a:r>
          </a:p>
        </p:txBody>
      </p:sp>
    </p:spTree>
    <p:extLst>
      <p:ext uri="{BB962C8B-B14F-4D97-AF65-F5344CB8AC3E}">
        <p14:creationId xmlns:p14="http://schemas.microsoft.com/office/powerpoint/2010/main" val="30980240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92508" y="139976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38654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906372" y="1475042"/>
            <a:ext cx="21170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215" y="697003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dlouhodobě klesla ve všech věkových kategoriích dětí. 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450893" y="2011518"/>
            <a:ext cx="245727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 4. otevřeny MŠ pro předškolní děti, návrat 1. stupně ZŠ v rotačním režimu</a:t>
            </a:r>
          </a:p>
        </p:txBody>
      </p: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3583677" y="2871622"/>
            <a:ext cx="0" cy="9077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délník 19">
            <a:extLst>
              <a:ext uri="{FF2B5EF4-FFF2-40B4-BE49-F238E27FC236}">
                <a16:creationId xmlns:a16="http://schemas.microsoft.com/office/drawing/2014/main" id="{EC83A386-1D77-43BD-98DD-1074CDE32BD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427758" y="1227359"/>
            <a:ext cx="419520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d 26. 4. MŠ otevřeny zcela, SŠ a VOŠ praktické vyučování v PLK, HKK, KVK </a:t>
            </a:r>
            <a:b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d 3. 5. dále STC, LBK, PAK, PHA s rozšířením rotační výuky 2. st. ZŠ a od 10. 5. ve zbývajících krajích</a:t>
            </a:r>
          </a:p>
        </p:txBody>
      </p: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0EA45419-FFE6-41F1-9778-325DBC06FC41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4903119" y="2239587"/>
            <a:ext cx="5044" cy="22485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931B54ED-96B8-4B0B-88B2-56F3421552FF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229010" y="2239587"/>
            <a:ext cx="0" cy="24246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16BF9B4A-EA00-4154-9ADA-5E9222B2A3C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5610286" y="2239587"/>
            <a:ext cx="0" cy="26344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6378239" y="3985810"/>
            <a:ext cx="3859149" cy="11985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sledních cca 14 dnech se zvyšuje počet nově zachycených nákaz u mladistvých ve věku nad 12 let. </a:t>
            </a:r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E1EDB432-3750-44DF-8475-8C304539F70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6000647" y="2239588"/>
            <a:ext cx="1674438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d 24. 5. otevřeny ZŠ, SŠ, VOŠ a VŠ bez rotací v celé ČR</a:t>
            </a:r>
          </a:p>
        </p:txBody>
      </p: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B5A81F15-FF51-4B48-9C47-E4D279BDBC66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>
          <a:xfrm>
            <a:off x="6282803" y="2885919"/>
            <a:ext cx="0" cy="2195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14221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82980" y="149961"/>
            <a:ext cx="11249025" cy="11985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cs-CZ" sz="3400" b="1" dirty="0">
                <a:solidFill>
                  <a:srgbClr val="0000FF"/>
                </a:solidFill>
              </a:rPr>
              <a:t>V posledních cca 14 dnech se zvyšuje počet nově zachycených nákaz u mladých lidí, zejména ve věku 16 – 29 let. </a:t>
            </a:r>
          </a:p>
        </p:txBody>
      </p:sp>
      <p:sp>
        <p:nvSpPr>
          <p:cNvPr id="4" name="TextovéPole 3"/>
          <p:cNvSpPr txBox="1"/>
          <p:nvPr>
            <p:custDataLst>
              <p:tags r:id="rId2"/>
            </p:custDataLst>
          </p:nvPr>
        </p:nvSpPr>
        <p:spPr>
          <a:xfrm>
            <a:off x="914400" y="2918135"/>
            <a:ext cx="1067114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>
                <a:solidFill>
                  <a:srgbClr val="003399"/>
                </a:solidFill>
              </a:rPr>
              <a:t>Tento nárůst se týká zejména Prahy, a populace kraje Středočeského a  Plzeňského. </a:t>
            </a:r>
          </a:p>
          <a:p>
            <a:pPr algn="ctr"/>
            <a:r>
              <a:rPr lang="cs-CZ" sz="2200" b="1" dirty="0">
                <a:solidFill>
                  <a:srgbClr val="003399"/>
                </a:solidFill>
              </a:rPr>
              <a:t>V menší míře dále Libereckého kraje, Pardubického kraje a Kraje Vysočina</a:t>
            </a:r>
          </a:p>
        </p:txBody>
      </p:sp>
      <p:sp>
        <p:nvSpPr>
          <p:cNvPr id="10" name="Pravá složená závorka 9">
            <a:extLst>
              <a:ext uri="{FF2B5EF4-FFF2-40B4-BE49-F238E27FC236}">
                <a16:creationId xmlns:a16="http://schemas.microsoft.com/office/drawing/2014/main" id="{B6F73935-218A-493A-B0B3-186D10B7DDCE}"/>
              </a:ext>
            </a:extLst>
          </p:cNvPr>
          <p:cNvSpPr/>
          <p:nvPr/>
        </p:nvSpPr>
        <p:spPr>
          <a:xfrm rot="5400000">
            <a:off x="7056519" y="1886126"/>
            <a:ext cx="251927" cy="1900810"/>
          </a:xfrm>
          <a:prstGeom prst="rightBrace">
            <a:avLst/>
          </a:prstGeom>
          <a:solidFill>
            <a:srgbClr val="003399"/>
          </a:solidFill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28DB6FA2-FA04-4C6A-897A-180C27BE97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95415" y="1969964"/>
            <a:ext cx="2312709" cy="63448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5C2B0332-E67A-4A48-BCAA-2479968DB92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3354"/>
          <a:stretch/>
        </p:blipFill>
        <p:spPr>
          <a:xfrm>
            <a:off x="259995" y="1357692"/>
            <a:ext cx="11593413" cy="1418765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6C62355E-2CFA-4B7D-A355-AFF929C1FE4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3631" b="4738"/>
          <a:stretch/>
        </p:blipFill>
        <p:spPr>
          <a:xfrm>
            <a:off x="259996" y="3766610"/>
            <a:ext cx="11672010" cy="2941429"/>
          </a:xfrm>
          <a:prstGeom prst="rect">
            <a:avLst/>
          </a:prstGeom>
        </p:spPr>
      </p:pic>
      <p:sp>
        <p:nvSpPr>
          <p:cNvPr id="13" name="Šipka dolů 11">
            <a:extLst>
              <a:ext uri="{FF2B5EF4-FFF2-40B4-BE49-F238E27FC236}">
                <a16:creationId xmlns:a16="http://schemas.microsoft.com/office/drawing/2014/main" id="{8868F21A-5CDB-468D-8BF6-63EF42522DEA}"/>
              </a:ext>
            </a:extLst>
          </p:cNvPr>
          <p:cNvSpPr/>
          <p:nvPr/>
        </p:nvSpPr>
        <p:spPr>
          <a:xfrm>
            <a:off x="6509475" y="3594599"/>
            <a:ext cx="1551709" cy="19628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11459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84001" y="1879588"/>
            <a:ext cx="11708186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 seniorních skupin obyvatel (70+) společně s přirozenou ochranou danou nedávno prodělaným onemocněním přesahuje 80 - 85 % daných populačních kohort. Tento fakt významně snižuje zátěž nemocnic, klesají  počty nově hospitalizovaných a potenciálně zranitelných pacientů. Kalkulováno na celé dospělé populaci ČR dosahuje tato ochrana 67 %. Celkem 59,6 % osob ve věku 16+ je očkováno alespoň 1. dávkou, 45,5 % má očkování ukončené. K 15.7. bylo 60,3 % osob ve věku 18+ je očkováno alespoň 1. dávkou a 46,5 % má očkování ukončené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162240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kontrole šíření epidemi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podstatně podílí postupující vakcinace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62240" y="620166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71564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590560" cy="576000"/>
          </a:xfrm>
        </p:spPr>
        <p:txBody>
          <a:bodyPr/>
          <a:lstStyle/>
          <a:p>
            <a:r>
              <a:rPr lang="cs-CZ" dirty="0"/>
              <a:t>Stav očkování obyvatel v ČR k 14. 7. 2021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43DEB4E0-C2B7-4E1B-8422-D7FAF9E7D74B}"/>
              </a:ext>
            </a:extLst>
          </p:cNvPr>
          <p:cNvSpPr/>
          <p:nvPr/>
        </p:nvSpPr>
        <p:spPr>
          <a:xfrm>
            <a:off x="3190753" y="6554824"/>
            <a:ext cx="597631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Centrální rezervační systém; ISIN / COVID-19 - Informační systém infekční nemoci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EE952BB-7354-4D89-8CC6-6BC3309A3CEC}"/>
              </a:ext>
            </a:extLst>
          </p:cNvPr>
          <p:cNvGraphicFramePr/>
          <p:nvPr/>
        </p:nvGraphicFramePr>
        <p:xfrm>
          <a:off x="133350" y="701213"/>
          <a:ext cx="11837679" cy="58309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Obdélník 8">
            <a:extLst>
              <a:ext uri="{FF2B5EF4-FFF2-40B4-BE49-F238E27FC236}">
                <a16:creationId xmlns:a16="http://schemas.microsoft.com/office/drawing/2014/main" id="{A16925BD-8B42-4997-8EF2-01B33424556B}"/>
              </a:ext>
            </a:extLst>
          </p:cNvPr>
          <p:cNvSpPr/>
          <p:nvPr/>
        </p:nvSpPr>
        <p:spPr>
          <a:xfrm>
            <a:off x="1928241" y="693969"/>
            <a:ext cx="86502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y na 100 obyvatel (% populace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ACF933FC-AC8B-4DCF-85AE-AB663C334416}"/>
              </a:ext>
            </a:extLst>
          </p:cNvPr>
          <p:cNvGraphicFramePr>
            <a:graphicFrameLocks noGrp="1"/>
          </p:cNvGraphicFramePr>
          <p:nvPr/>
        </p:nvGraphicFramePr>
        <p:xfrm>
          <a:off x="10896970" y="1873690"/>
          <a:ext cx="900000" cy="4392000"/>
        </p:xfrm>
        <a:graphic>
          <a:graphicData uri="http://schemas.openxmlformats.org/drawingml/2006/table">
            <a:tbl>
              <a:tblPr/>
              <a:tblGrid>
                <a:gridCol w="900000">
                  <a:extLst>
                    <a:ext uri="{9D8B030D-6E8A-4147-A177-3AD203B41FA5}">
                      <a16:colId xmlns:a16="http://schemas.microsoft.com/office/drawing/2014/main" val="2643709246"/>
                    </a:ext>
                  </a:extLst>
                </a:gridCol>
              </a:tblGrid>
              <a:tr h="2745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701 77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8468862"/>
                  </a:ext>
                </a:extLst>
              </a:tr>
              <a:tr h="2745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683 16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741383"/>
                  </a:ext>
                </a:extLst>
              </a:tr>
              <a:tr h="2745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78 18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1730508"/>
                  </a:ext>
                </a:extLst>
              </a:tr>
              <a:tr h="2745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334 67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677209"/>
                  </a:ext>
                </a:extLst>
              </a:tr>
              <a:tr h="2745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 52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0186940"/>
                  </a:ext>
                </a:extLst>
              </a:tr>
              <a:tr h="2745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38 37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547789"/>
                  </a:ext>
                </a:extLst>
              </a:tr>
              <a:tr h="2745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2 4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706972"/>
                  </a:ext>
                </a:extLst>
              </a:tr>
              <a:tr h="2745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5 46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4968834"/>
                  </a:ext>
                </a:extLst>
              </a:tr>
              <a:tr h="2745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 7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60546"/>
                  </a:ext>
                </a:extLst>
              </a:tr>
              <a:tr h="2745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1 08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3168544"/>
                  </a:ext>
                </a:extLst>
              </a:tr>
              <a:tr h="2745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2 58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7991601"/>
                  </a:ext>
                </a:extLst>
              </a:tr>
              <a:tr h="2745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3 3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0878997"/>
                  </a:ext>
                </a:extLst>
              </a:tr>
              <a:tr h="2745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3 3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901668"/>
                  </a:ext>
                </a:extLst>
              </a:tr>
              <a:tr h="2745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8 9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6830054"/>
                  </a:ext>
                </a:extLst>
              </a:tr>
              <a:tr h="2745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5 4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4077139"/>
                  </a:ext>
                </a:extLst>
              </a:tr>
              <a:tr h="2745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3 59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4096052"/>
                  </a:ext>
                </a:extLst>
              </a:tr>
            </a:tbl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95E84E81-91E5-46C2-9381-CDCE4FF5644A}"/>
              </a:ext>
            </a:extLst>
          </p:cNvPr>
          <p:cNvSpPr/>
          <p:nvPr/>
        </p:nvSpPr>
        <p:spPr>
          <a:xfrm>
            <a:off x="10898203" y="1428327"/>
            <a:ext cx="102964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byvatelstv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1. 1. 2021</a:t>
            </a:r>
            <a:endParaRPr kumimoji="0" lang="cs-CZ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F091EAC1-A8DA-420C-8D5B-8905D005F1B6}"/>
              </a:ext>
            </a:extLst>
          </p:cNvPr>
          <p:cNvSpPr/>
          <p:nvPr/>
        </p:nvSpPr>
        <p:spPr>
          <a:xfrm>
            <a:off x="4429003" y="1077652"/>
            <a:ext cx="23916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74FD9147-E57A-4764-BE0D-03259447DD56}"/>
              </a:ext>
            </a:extLst>
          </p:cNvPr>
          <p:cNvSpPr/>
          <p:nvPr/>
        </p:nvSpPr>
        <p:spPr>
          <a:xfrm>
            <a:off x="1390528" y="6296031"/>
            <a:ext cx="931216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 osoby, které nebyly očkovány a ani nejsou přihlášeny k očkování a kdykoliv v minulosti prodělali onemocnění COVID-19 podle dat ISIN</a:t>
            </a:r>
          </a:p>
        </p:txBody>
      </p:sp>
    </p:spTree>
    <p:extLst>
      <p:ext uri="{BB962C8B-B14F-4D97-AF65-F5344CB8AC3E}">
        <p14:creationId xmlns:p14="http://schemas.microsoft.com/office/powerpoint/2010/main" val="148608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A8ACFE16-4309-418D-A3DD-C95047BE7616}"/>
              </a:ext>
            </a:extLst>
          </p:cNvPr>
          <p:cNvGraphicFramePr>
            <a:graphicFrameLocks noGrp="1"/>
          </p:cNvGraphicFramePr>
          <p:nvPr/>
        </p:nvGraphicFramePr>
        <p:xfrm>
          <a:off x="2586886" y="1439068"/>
          <a:ext cx="9114426" cy="4964784"/>
        </p:xfrm>
        <a:graphic>
          <a:graphicData uri="http://schemas.openxmlformats.org/drawingml/2006/table">
            <a:tbl>
              <a:tblPr/>
              <a:tblGrid>
                <a:gridCol w="1519071">
                  <a:extLst>
                    <a:ext uri="{9D8B030D-6E8A-4147-A177-3AD203B41FA5}">
                      <a16:colId xmlns:a16="http://schemas.microsoft.com/office/drawing/2014/main" val="2038368052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1035963336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1534617813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4103159567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366099047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2461689652"/>
                    </a:ext>
                  </a:extLst>
                </a:gridCol>
              </a:tblGrid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9CE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E9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286228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DC2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C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7364172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CCF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9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C48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8296067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D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EC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706391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EA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E8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3155919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E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A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032280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E8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F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4404048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8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1768882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EC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8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2028431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C9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2079997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E0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B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1412848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7511688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A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E5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6291089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FB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E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F0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1519003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1557282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8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E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7796321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/>
        </p:nvGraphicFramePr>
        <p:xfrm>
          <a:off x="490686" y="759551"/>
          <a:ext cx="11215540" cy="5644303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315100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Kraj podle </a:t>
                      </a:r>
                    </a:p>
                    <a:p>
                      <a:pPr algn="l" fontAlgn="b"/>
                      <a:r>
                        <a:rPr lang="cs-CZ" sz="1400" b="1" i="0" u="sng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místa bydliště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 k 1.1.20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16+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365619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6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6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Hlavní město Pra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1 2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6 3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5 6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Střed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3 9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5 5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8 0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4 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 6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4 5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effectLst/>
                        </a:rPr>
                        <a:t>Plzeňský kraj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3 0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0 6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8 5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arlovar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 9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 0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 8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Úst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7 3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6 6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0 3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Liber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5 5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0 9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 9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álovéhrad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9 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3 8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 8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Pardubi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4 1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 1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 5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aj Vysočin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4 0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5 8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 3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morav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0 7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1 0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3 3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Olomou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5 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 7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5 9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Zlín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5 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 4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8 4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>
                          <a:effectLst/>
                        </a:rPr>
                        <a:t>Moravskoslez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7 2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1 6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 0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28992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neuvedeno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 3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6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ČR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78 1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93 9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40 2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16 a více let – přehled podle regionů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. 7. 2021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490686" y="6433516"/>
            <a:ext cx="10910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Celkem bylo u osob ve věku 16+ aplikováno </a:t>
            </a:r>
            <a:r>
              <a:rPr kumimoji="0" lang="pl-PL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 230 374 dávek, z toho 4 040 206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sou dávky druhé/konečné. 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13175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LIDEID" val="1503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LIDEID" val="1503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9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7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875</TotalTime>
  <Words>3231</Words>
  <Application>Microsoft Office PowerPoint</Application>
  <PresentationFormat>Širokoúhlá obrazovka</PresentationFormat>
  <Paragraphs>747</Paragraphs>
  <Slides>34</Slides>
  <Notes>8</Notes>
  <HiddenSlides>0</HiddenSlides>
  <MMClips>0</MMClips>
  <ScaleCrop>false</ScaleCrop>
  <HeadingPairs>
    <vt:vector size="6" baseType="variant">
      <vt:variant>
        <vt:lpstr>Použitá písma</vt:lpstr>
      </vt:variant>
      <vt:variant>
        <vt:i4>6</vt:i4>
      </vt:variant>
      <vt:variant>
        <vt:lpstr>Motiv</vt:lpstr>
      </vt:variant>
      <vt:variant>
        <vt:i4>6</vt:i4>
      </vt:variant>
      <vt:variant>
        <vt:lpstr>Nadpisy snímků</vt:lpstr>
      </vt:variant>
      <vt:variant>
        <vt:i4>34</vt:i4>
      </vt:variant>
    </vt:vector>
  </HeadingPairs>
  <TitlesOfParts>
    <vt:vector size="46" baseType="lpstr">
      <vt:lpstr>Calibri Light</vt:lpstr>
      <vt:lpstr>Calibri</vt:lpstr>
      <vt:lpstr>Times New Roman</vt:lpstr>
      <vt:lpstr>Arial (Základní text)</vt:lpstr>
      <vt:lpstr>Arial</vt:lpstr>
      <vt:lpstr>Wingdings</vt:lpstr>
      <vt:lpstr>1_Motiv Office</vt:lpstr>
      <vt:lpstr>3_Motiv Office</vt:lpstr>
      <vt:lpstr>7_Motiv Office</vt:lpstr>
      <vt:lpstr>12_Motiv Office</vt:lpstr>
      <vt:lpstr>8_Motiv Office</vt:lpstr>
      <vt:lpstr>9_Motiv Office</vt:lpstr>
      <vt:lpstr>Datová a informační základna  pro management pandemie COVID-19</vt:lpstr>
      <vt:lpstr>Prezentace aplikace PowerPoint</vt:lpstr>
      <vt:lpstr>Prezentace aplikace PowerPoint</vt:lpstr>
      <vt:lpstr>Počty COVID-19 pozitivních v ČR na 100 000 v populaci</vt:lpstr>
      <vt:lpstr>Počty COVID-19 pozitivních v ČR na 100 000 v populaci</vt:lpstr>
      <vt:lpstr>Prezentace aplikace PowerPoint</vt:lpstr>
      <vt:lpstr>Prezentace aplikace PowerPoint</vt:lpstr>
      <vt:lpstr>Stav očkování obyvatel v ČR k 14. 7. 2021</vt:lpstr>
      <vt:lpstr>Očkovaní 16 a více let – přehled podle regionů</vt:lpstr>
      <vt:lpstr>Očkovaní 18 a více let – přehled podle regionů</vt:lpstr>
      <vt:lpstr>Datová a informační základna  pro management pandemie COVID-19</vt:lpstr>
      <vt:lpstr>Prezentace aplikace PowerPoint</vt:lpstr>
      <vt:lpstr>7 denní počet nových případů (na 100 000 obyv.) v okresech</vt:lpstr>
      <vt:lpstr>7 denní počet nových případů (na 100 000 obyv.) v ORP</vt:lpstr>
      <vt:lpstr>Zátěž regionů ve vzájemném srovnání krajů k 15. 7.</vt:lpstr>
      <vt:lpstr>R (zjednodušený výpočet) - 7 denní úseky: srovnání krajů k 15. 7.</vt:lpstr>
      <vt:lpstr>Relativní pozitivita testů s diagnostickou/epidemiologickou indikací za 7 dní</vt:lpstr>
      <vt:lpstr>Nové symptomatické případy za 7 dní na 100 000 obyvatel</vt:lpstr>
      <vt:lpstr>Nové případy za 7 dní na 100 000 obyvatel: 20 okresů s nejvyššími hodnotami k 13.7.</vt:lpstr>
      <vt:lpstr>Nové případy za 7 dní na 100 000 obyvatel: 20 okresů s nejvyššími hodnotami k 14.7.</vt:lpstr>
      <vt:lpstr>Přehled okresů s potenciálně rizikovými epidemickými hodnotami  (kalkulace s hranicí týdenního záchytu 25 případů / 100tis. obyv.)</vt:lpstr>
      <vt:lpstr>Přehled ORP s potenciálně rizikovými epidemickými hodnotami (kalkulace s hranicí týdenního záchytu 25 případů / 100tis. obyv.)</vt:lpstr>
      <vt:lpstr>Modelové scénáře: 7denní hodnoty na 100 tisíc obyvatel</vt:lpstr>
      <vt:lpstr>Prezentace aplikace PowerPoint</vt:lpstr>
      <vt:lpstr>Datová a informační základna  pro management pandemie COVID-19</vt:lpstr>
      <vt:lpstr>Počty realizovaných PCR testů v čase </vt:lpstr>
      <vt:lpstr>Počty realizovaných AG testů v čase</vt:lpstr>
      <vt:lpstr>Podíl pozitivních testů: diagnostické a klinické indikace </vt:lpstr>
      <vt:lpstr>Podíl pozitivních testů: epidemiologické indikace</vt:lpstr>
      <vt:lpstr>Datová a informační základna  pro management pandemie COVID-19</vt:lpstr>
      <vt:lpstr>Nové případy za 7 dní na 100 000 obyvatel: srovnání krajů k 13.7.: 5–11 let</vt:lpstr>
      <vt:lpstr>Nové případy za 7 dní na 100 000 obyvatel: srovnání krajů k 13.7.: 12–15 let</vt:lpstr>
      <vt:lpstr>Nové případy za 7 dní na 100 000 obyvatel: srovnání krajů k 13.7.: 16–19 let</vt:lpstr>
      <vt:lpstr>Nové případy za 7 dní na 100 000 obyvatel: srovnání krajů k 13.7.: 20–29 le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1233</cp:revision>
  <dcterms:created xsi:type="dcterms:W3CDTF">2020-11-11T17:36:28Z</dcterms:created>
  <dcterms:modified xsi:type="dcterms:W3CDTF">2021-07-15T05:46:04Z</dcterms:modified>
</cp:coreProperties>
</file>